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822" r:id="rId1"/>
    <p:sldMasterId id="2147484024" r:id="rId2"/>
    <p:sldMasterId id="2147483660" r:id="rId3"/>
    <p:sldMasterId id="2147484076" r:id="rId4"/>
  </p:sldMasterIdLst>
  <p:notesMasterIdLst>
    <p:notesMasterId r:id="rId19"/>
  </p:notesMasterIdLst>
  <p:handoutMasterIdLst>
    <p:handoutMasterId r:id="rId20"/>
  </p:handoutMasterIdLst>
  <p:sldIdLst>
    <p:sldId id="2147472354" r:id="rId5"/>
    <p:sldId id="256" r:id="rId6"/>
    <p:sldId id="2141411979" r:id="rId7"/>
    <p:sldId id="296" r:id="rId8"/>
    <p:sldId id="2147472365" r:id="rId9"/>
    <p:sldId id="2141411992" r:id="rId10"/>
    <p:sldId id="2147472371" r:id="rId11"/>
    <p:sldId id="2147472366" r:id="rId12"/>
    <p:sldId id="2147472329" r:id="rId13"/>
    <p:sldId id="2147472367" r:id="rId14"/>
    <p:sldId id="2147472369" r:id="rId15"/>
    <p:sldId id="2147472368" r:id="rId16"/>
    <p:sldId id="2147472370" r:id="rId17"/>
    <p:sldId id="2147472363" r:id="rId18"/>
  </p:sldIdLst>
  <p:sldSz cx="12198350" cy="6858000"/>
  <p:notesSz cx="6950075" cy="92360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E0B4CA16-DA66-B943-85EB-0C54215E2603}">
          <p14:sldIdLst>
            <p14:sldId id="2147472354"/>
            <p14:sldId id="256"/>
            <p14:sldId id="2141411979"/>
            <p14:sldId id="296"/>
            <p14:sldId id="2147472365"/>
            <p14:sldId id="2141411992"/>
            <p14:sldId id="2147472371"/>
            <p14:sldId id="2147472366"/>
            <p14:sldId id="2147472329"/>
            <p14:sldId id="2147472367"/>
            <p14:sldId id="2147472369"/>
            <p14:sldId id="2147472368"/>
            <p14:sldId id="2147472370"/>
            <p14:sldId id="214747236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8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D0F4"/>
    <a:srgbClr val="6DDEDC"/>
    <a:srgbClr val="0B9CD0"/>
    <a:srgbClr val="FFE700"/>
    <a:srgbClr val="1D817F"/>
    <a:srgbClr val="FFE600"/>
    <a:srgbClr val="2E2E38"/>
    <a:srgbClr val="FAEB00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F57238-ACE1-44EB-A7C8-0E8BD4D990C6}" v="155" dt="2023-02-09T03:05:26.4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234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14" y="111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8/02/2023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8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269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08677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252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55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556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8736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973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2124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0584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06672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703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3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11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image" Target="../media/image10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image" Target="../media/image9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sv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81503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158AF-CA20-F61A-DD34-E21A3E7C9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Line 10">
            <a:extLst>
              <a:ext uri="{FF2B5EF4-FFF2-40B4-BE49-F238E27FC236}">
                <a16:creationId xmlns:a16="http://schemas.microsoft.com/office/drawing/2014/main" id="{5F982EBE-211B-E5CB-E3C6-DC5BC3F782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00F28B-94CF-1E23-3DD1-EA00DD459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407395F-FB47-3492-F644-A89C6CB1E2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3819" y="6467475"/>
            <a:ext cx="146304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61A81A9-6412-0EB4-2F9B-8473DBCC92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67477"/>
            <a:ext cx="457200" cy="183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16299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79381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72422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B661676-9CCD-0426-5D29-2863F0E81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23819" y="6467475"/>
            <a:ext cx="1463040" cy="1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</p:spTree>
    <p:extLst>
      <p:ext uri="{BB962C8B-B14F-4D97-AF65-F5344CB8AC3E}">
        <p14:creationId xmlns:p14="http://schemas.microsoft.com/office/powerpoint/2010/main" val="22811414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46375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481155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085511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57906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9071593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60587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B661676-9CCD-0426-5D29-2863F0E81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23819" y="6467475"/>
            <a:ext cx="1463040" cy="1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18614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32342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4E651DA-1130-A9DB-931F-E1DEF26BAE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919" y="1137919"/>
            <a:ext cx="1097851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41741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37487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323298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905575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6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62436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59539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4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3354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313594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370449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030007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222526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323051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993564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22446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332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18CA2914-AAE2-0F8B-89F8-45E1DD790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23819" y="6467475"/>
            <a:ext cx="1463040" cy="180000"/>
          </a:xfrm>
        </p:spPr>
        <p:txBody>
          <a:bodyPr/>
          <a:lstStyle/>
          <a:p>
            <a:r>
              <a:rPr lang="en-IN" dirty="0"/>
              <a:t>BlockWager</a:t>
            </a:r>
          </a:p>
        </p:txBody>
      </p:sp>
    </p:spTree>
    <p:extLst>
      <p:ext uri="{BB962C8B-B14F-4D97-AF65-F5344CB8AC3E}">
        <p14:creationId xmlns:p14="http://schemas.microsoft.com/office/powerpoint/2010/main" val="12809858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509477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18355566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7383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05246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28885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460548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41100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66328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58271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50028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7938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621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4E651DA-1130-A9DB-931F-E1DEF26BAE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1097851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9262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2367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19585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5356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616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62807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9516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82872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18CA2914-AAE2-0F8B-89F8-45E1DD790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23819" y="6467475"/>
            <a:ext cx="1463040" cy="180000"/>
          </a:xfrm>
        </p:spPr>
        <p:txBody>
          <a:bodyPr/>
          <a:lstStyle/>
          <a:p>
            <a:r>
              <a:rPr lang="en-IN" dirty="0"/>
              <a:t>BlockWager</a:t>
            </a:r>
          </a:p>
        </p:txBody>
      </p:sp>
    </p:spTree>
    <p:extLst>
      <p:ext uri="{BB962C8B-B14F-4D97-AF65-F5344CB8AC3E}">
        <p14:creationId xmlns:p14="http://schemas.microsoft.com/office/powerpoint/2010/main" val="21020724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223233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05671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27327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24980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8808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9396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1181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FDC8D00-A36A-45C9-8DBA-9C67E1785D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7240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FDC8D00-A36A-45C9-8DBA-9C67E1785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sym typeface="EYInterstate Light" panose="0200050600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  <a:latin typeface="EYInterstate Light" panose="02000506000000020004" pitchFamily="2" charset="0"/>
              <a:sym typeface="EYInterstate Light" panose="02000506000000020004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EYInterstate Light" panose="02000506000000020004" pitchFamily="2" charset="0"/>
                <a:sym typeface="EYInterstate Light" panose="0200050600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EYInterstate Light" panose="02000506000000020004" pitchFamily="2" charset="0"/>
                <a:sym typeface="EYInterstate Light" panose="02000506000000020004" pitchFamily="2" charset="0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latin typeface="EYInterstate Light" panose="02000506000000020004" pitchFamily="2" charset="0"/>
              </a:rPr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30869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_ShapeSpecifications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08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06" imgH="306" progId="TCLayout.ActiveDocument.1">
                  <p:embed/>
                </p:oleObj>
              </mc:Choice>
              <mc:Fallback>
                <p:oleObj name="think-cell Slide" r:id="rId26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4FB760-C3F0-4C80-87F0-278137ABAE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4C4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kumimoji="0" lang="en-US" sz="2200" b="0" i="0" u="none" cap="none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Grid">
            <a:extLst>
              <a:ext uri="{FF2B5EF4-FFF2-40B4-BE49-F238E27FC236}">
                <a16:creationId xmlns:a16="http://schemas.microsoft.com/office/drawing/2014/main" id="{B446B261-5697-4B3A-865E-C6F538C8BB84}"/>
              </a:ext>
            </a:extLst>
          </p:cNvPr>
          <p:cNvSpPr/>
          <p:nvPr userDrawn="1"/>
        </p:nvSpPr>
        <p:spPr>
          <a:xfrm>
            <a:off x="603383" y="1327148"/>
            <a:ext cx="10980000" cy="479742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9" name="SectionHeader" descr="Super Headline">
            <a:extLst>
              <a:ext uri="{FF2B5EF4-FFF2-40B4-BE49-F238E27FC236}">
                <a16:creationId xmlns:a16="http://schemas.microsoft.com/office/drawing/2014/main" id="{7F6122C7-2E42-4480-BF4F-8D630CA808BF}"/>
              </a:ext>
            </a:extLst>
          </p:cNvPr>
          <p:cNvSpPr txBox="1"/>
          <p:nvPr userDrawn="1"/>
        </p:nvSpPr>
        <p:spPr>
          <a:xfrm>
            <a:off x="603383" y="77800"/>
            <a:ext cx="937757" cy="1583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1200" dirty="0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Section header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DEFA5F07-5E00-4E2B-85F7-2AD1F183B795}"/>
              </a:ext>
            </a:extLst>
          </p:cNvPr>
          <p:cNvSpPr/>
          <p:nvPr userDrawn="1"/>
        </p:nvSpPr>
        <p:spPr>
          <a:xfrm>
            <a:off x="603383" y="964569"/>
            <a:ext cx="1005916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defRPr/>
            </a:pPr>
            <a:r>
              <a:rPr lang="en-US" sz="1400" baseline="0" dirty="0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Subtitle</a:t>
            </a:r>
            <a:r>
              <a:rPr lang="en-US" sz="1400" dirty="0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 (unit)</a:t>
            </a:r>
          </a:p>
        </p:txBody>
      </p:sp>
      <p:sp>
        <p:nvSpPr>
          <p:cNvPr id="13" name="SlideInfo">
            <a:extLst>
              <a:ext uri="{FF2B5EF4-FFF2-40B4-BE49-F238E27FC236}">
                <a16:creationId xmlns:a16="http://schemas.microsoft.com/office/drawing/2014/main" id="{E31C99E6-AEF7-44B4-A771-8B3283C9815A}"/>
              </a:ext>
            </a:extLst>
          </p:cNvPr>
          <p:cNvSpPr/>
          <p:nvPr userDrawn="1"/>
        </p:nvSpPr>
        <p:spPr>
          <a:xfrm>
            <a:off x="9768907" y="964569"/>
            <a:ext cx="1821011" cy="215444"/>
          </a:xfrm>
          <a:prstGeom prst="rect">
            <a:avLst/>
          </a:prstGeom>
          <a:noFill/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/>
                <a:ea typeface="+mn-ea"/>
                <a:cs typeface="+mn-cs"/>
              </a:rPr>
              <a:t>back-up | preliminary</a:t>
            </a:r>
          </a:p>
        </p:txBody>
      </p:sp>
      <p:sp>
        <p:nvSpPr>
          <p:cNvPr id="15" name="TrackerBounds">
            <a:extLst>
              <a:ext uri="{FF2B5EF4-FFF2-40B4-BE49-F238E27FC236}">
                <a16:creationId xmlns:a16="http://schemas.microsoft.com/office/drawing/2014/main" id="{12184C22-680D-4AF2-BB1B-FD2737ECE8A9}"/>
              </a:ext>
            </a:extLst>
          </p:cNvPr>
          <p:cNvSpPr/>
          <p:nvPr userDrawn="1"/>
        </p:nvSpPr>
        <p:spPr>
          <a:xfrm>
            <a:off x="9588949" y="129268"/>
            <a:ext cx="1999484" cy="710598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endParaRPr lang="en-US" sz="1100" dirty="0">
              <a:solidFill>
                <a:schemeClr val="accent2"/>
              </a:solidFill>
            </a:endParaRPr>
          </a:p>
        </p:txBody>
      </p:sp>
      <p:sp>
        <p:nvSpPr>
          <p:cNvPr id="16" name="ChevronBounds">
            <a:extLst>
              <a:ext uri="{FF2B5EF4-FFF2-40B4-BE49-F238E27FC236}">
                <a16:creationId xmlns:a16="http://schemas.microsoft.com/office/drawing/2014/main" id="{1511A0AA-77B5-40AC-9C13-50BA9E5E7D00}"/>
              </a:ext>
            </a:extLst>
          </p:cNvPr>
          <p:cNvSpPr/>
          <p:nvPr userDrawn="1"/>
        </p:nvSpPr>
        <p:spPr>
          <a:xfrm>
            <a:off x="9588949" y="268567"/>
            <a:ext cx="1999484" cy="432000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100" dirty="0">
                <a:solidFill>
                  <a:schemeClr val="tx2"/>
                </a:solidFill>
                <a:latin typeface="EYInterstate Light" panose="02000506000000020004"/>
              </a:rPr>
              <a:t>Space for chevrons</a:t>
            </a:r>
          </a:p>
        </p:txBody>
      </p:sp>
      <p:sp>
        <p:nvSpPr>
          <p:cNvPr id="17" name="Footnote" descr="Footnote">
            <a:extLst>
              <a:ext uri="{FF2B5EF4-FFF2-40B4-BE49-F238E27FC236}">
                <a16:creationId xmlns:a16="http://schemas.microsoft.com/office/drawing/2014/main" id="{D1074E5C-601C-464E-8694-C182917CC12A}"/>
              </a:ext>
            </a:extLst>
          </p:cNvPr>
          <p:cNvSpPr txBox="1"/>
          <p:nvPr userDrawn="1"/>
        </p:nvSpPr>
        <p:spPr>
          <a:xfrm>
            <a:off x="609916" y="5870448"/>
            <a:ext cx="9985811" cy="40422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marL="95250" indent="-9525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AutoNum type="arabicPeriod"/>
            </a:pPr>
            <a:r>
              <a:rPr lang="en-US" sz="800" dirty="0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Footnote</a:t>
            </a:r>
          </a:p>
        </p:txBody>
      </p:sp>
      <p:grpSp>
        <p:nvGrpSpPr>
          <p:cNvPr id="19" name="NumberedTracker_Blue">
            <a:extLst>
              <a:ext uri="{FF2B5EF4-FFF2-40B4-BE49-F238E27FC236}">
                <a16:creationId xmlns:a16="http://schemas.microsoft.com/office/drawing/2014/main" id="{99781829-5581-4677-B5EC-F7C47520E773}"/>
              </a:ext>
            </a:extLst>
          </p:cNvPr>
          <p:cNvGrpSpPr/>
          <p:nvPr userDrawn="1"/>
        </p:nvGrpSpPr>
        <p:grpSpPr>
          <a:xfrm>
            <a:off x="6570484" y="3137343"/>
            <a:ext cx="2006600" cy="287384"/>
            <a:chOff x="7013159" y="2413792"/>
            <a:chExt cx="2006600" cy="287384"/>
          </a:xfrm>
        </p:grpSpPr>
        <p:sp>
          <p:nvSpPr>
            <p:cNvPr id="20" name="SelectedNumber">
              <a:extLst>
                <a:ext uri="{FF2B5EF4-FFF2-40B4-BE49-F238E27FC236}">
                  <a16:creationId xmlns:a16="http://schemas.microsoft.com/office/drawing/2014/main" id="{916BADF3-685D-4FA6-AFE0-CF21231E1D2F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013159" y="2413792"/>
              <a:ext cx="261620" cy="136800"/>
            </a:xfrm>
            <a:prstGeom prst="rect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2E2E38"/>
                  </a:solidFill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21" name="Selected">
              <a:extLst>
                <a:ext uri="{FF2B5EF4-FFF2-40B4-BE49-F238E27FC236}">
                  <a16:creationId xmlns:a16="http://schemas.microsoft.com/office/drawing/2014/main" id="{1F6C7114-EF90-4545-BD13-8737C8905BE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287479" y="2413792"/>
              <a:ext cx="1732280" cy="136800"/>
            </a:xfrm>
            <a:prstGeom prst="rect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2E2E38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22" name="UnselectedNumber">
              <a:extLst>
                <a:ext uri="{FF2B5EF4-FFF2-40B4-BE49-F238E27FC236}">
                  <a16:creationId xmlns:a16="http://schemas.microsoft.com/office/drawing/2014/main" id="{E13BDA0B-2F16-4F2F-BD43-72C31A83C958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013159" y="2564376"/>
              <a:ext cx="261620" cy="136800"/>
            </a:xfrm>
            <a:prstGeom prst="rect">
              <a:avLst/>
            </a:prstGeom>
            <a:solidFill>
              <a:srgbClr val="E1E1E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dirty="0">
                  <a:solidFill>
                    <a:srgbClr val="747480"/>
                  </a:solidFill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23" name="Unselected">
              <a:extLst>
                <a:ext uri="{FF2B5EF4-FFF2-40B4-BE49-F238E27FC236}">
                  <a16:creationId xmlns:a16="http://schemas.microsoft.com/office/drawing/2014/main" id="{7115B848-59BC-456D-9830-D60A2CFBAA8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287479" y="2564376"/>
              <a:ext cx="1732280" cy="136800"/>
            </a:xfrm>
            <a:prstGeom prst="rect">
              <a:avLst/>
            </a:prstGeom>
            <a:solidFill>
              <a:srgbClr val="E1E1E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dirty="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24" name="NumberedTracker_Gray">
            <a:extLst>
              <a:ext uri="{FF2B5EF4-FFF2-40B4-BE49-F238E27FC236}">
                <a16:creationId xmlns:a16="http://schemas.microsoft.com/office/drawing/2014/main" id="{5F45E0CD-546C-4D0A-AAFE-34CFD62A8950}"/>
              </a:ext>
            </a:extLst>
          </p:cNvPr>
          <p:cNvGrpSpPr/>
          <p:nvPr userDrawn="1"/>
        </p:nvGrpSpPr>
        <p:grpSpPr>
          <a:xfrm>
            <a:off x="6570484" y="3636288"/>
            <a:ext cx="2006600" cy="285573"/>
            <a:chOff x="3812540" y="2712440"/>
            <a:chExt cx="2006600" cy="285573"/>
          </a:xfrm>
        </p:grpSpPr>
        <p:sp>
          <p:nvSpPr>
            <p:cNvPr id="25" name="SelectedNumber">
              <a:extLst>
                <a:ext uri="{FF2B5EF4-FFF2-40B4-BE49-F238E27FC236}">
                  <a16:creationId xmlns:a16="http://schemas.microsoft.com/office/drawing/2014/main" id="{00C31DA8-9593-4D39-B5D7-7DFDA80C1E03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3812540" y="2712440"/>
              <a:ext cx="261620" cy="13680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26" name="Selected">
              <a:extLst>
                <a:ext uri="{FF2B5EF4-FFF2-40B4-BE49-F238E27FC236}">
                  <a16:creationId xmlns:a16="http://schemas.microsoft.com/office/drawing/2014/main" id="{04FAC387-8731-481F-8C59-791390012D90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086860" y="2712440"/>
              <a:ext cx="1732280" cy="13680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27" name="UnselectedNumber">
              <a:extLst>
                <a:ext uri="{FF2B5EF4-FFF2-40B4-BE49-F238E27FC236}">
                  <a16:creationId xmlns:a16="http://schemas.microsoft.com/office/drawing/2014/main" id="{27CCCAA5-11FF-46BA-88B4-815973A6D72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3812540" y="2861213"/>
              <a:ext cx="261620" cy="136800"/>
            </a:xfrm>
            <a:prstGeom prst="rect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dirty="0">
                  <a:solidFill>
                    <a:srgbClr val="747480"/>
                  </a:solidFill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28" name="Unselected">
              <a:extLst>
                <a:ext uri="{FF2B5EF4-FFF2-40B4-BE49-F238E27FC236}">
                  <a16:creationId xmlns:a16="http://schemas.microsoft.com/office/drawing/2014/main" id="{9F1702D7-A913-4A7B-9C44-37DE5ED5B52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086860" y="2861213"/>
              <a:ext cx="1732280" cy="136800"/>
            </a:xfrm>
            <a:prstGeom prst="rect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dirty="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29" name="TitleTracker_Blue">
            <a:extLst>
              <a:ext uri="{FF2B5EF4-FFF2-40B4-BE49-F238E27FC236}">
                <a16:creationId xmlns:a16="http://schemas.microsoft.com/office/drawing/2014/main" id="{682F2A3C-2576-46DE-9F71-5B6C076C8306}"/>
              </a:ext>
            </a:extLst>
          </p:cNvPr>
          <p:cNvGrpSpPr/>
          <p:nvPr userDrawn="1"/>
        </p:nvGrpSpPr>
        <p:grpSpPr>
          <a:xfrm>
            <a:off x="6570484" y="4094566"/>
            <a:ext cx="2006600" cy="287388"/>
            <a:chOff x="4850118" y="2906786"/>
            <a:chExt cx="2006600" cy="287388"/>
          </a:xfrm>
        </p:grpSpPr>
        <p:sp>
          <p:nvSpPr>
            <p:cNvPr id="30" name="Selected">
              <a:extLst>
                <a:ext uri="{FF2B5EF4-FFF2-40B4-BE49-F238E27FC236}">
                  <a16:creationId xmlns:a16="http://schemas.microsoft.com/office/drawing/2014/main" id="{0DC9DE7F-6D69-4097-BD2B-D58EB6C29A4F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850118" y="2906786"/>
              <a:ext cx="2006600" cy="136800"/>
            </a:xfrm>
            <a:prstGeom prst="rect">
              <a:avLst/>
            </a:prstGeom>
            <a:solidFill>
              <a:srgbClr val="FFE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2E2E38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31" name="Unselected">
              <a:extLst>
                <a:ext uri="{FF2B5EF4-FFF2-40B4-BE49-F238E27FC236}">
                  <a16:creationId xmlns:a16="http://schemas.microsoft.com/office/drawing/2014/main" id="{22F64030-4FAF-460A-9492-5619BB2B7D23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850118" y="3057374"/>
              <a:ext cx="2006600" cy="136800"/>
            </a:xfrm>
            <a:prstGeom prst="rect">
              <a:avLst/>
            </a:prstGeom>
            <a:solidFill>
              <a:srgbClr val="E1E1E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dirty="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32" name="TitleTracker_Gray">
            <a:extLst>
              <a:ext uri="{FF2B5EF4-FFF2-40B4-BE49-F238E27FC236}">
                <a16:creationId xmlns:a16="http://schemas.microsoft.com/office/drawing/2014/main" id="{47C66DF2-FEAB-4410-A0BF-4D5B20F977ED}"/>
              </a:ext>
            </a:extLst>
          </p:cNvPr>
          <p:cNvGrpSpPr/>
          <p:nvPr userDrawn="1"/>
        </p:nvGrpSpPr>
        <p:grpSpPr>
          <a:xfrm>
            <a:off x="6570484" y="4616780"/>
            <a:ext cx="2006600" cy="287387"/>
            <a:chOff x="4850118" y="3429000"/>
            <a:chExt cx="2006600" cy="287387"/>
          </a:xfrm>
        </p:grpSpPr>
        <p:sp>
          <p:nvSpPr>
            <p:cNvPr id="33" name="Selected">
              <a:extLst>
                <a:ext uri="{FF2B5EF4-FFF2-40B4-BE49-F238E27FC236}">
                  <a16:creationId xmlns:a16="http://schemas.microsoft.com/office/drawing/2014/main" id="{7B68979D-6940-47FD-8C8C-D066AA041DB6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850118" y="3429000"/>
              <a:ext cx="2006600" cy="136800"/>
            </a:xfrm>
            <a:prstGeom prst="rect">
              <a:avLst/>
            </a:prstGeom>
            <a:solidFill>
              <a:srgbClr val="80808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34" name="Unselected">
              <a:extLst>
                <a:ext uri="{FF2B5EF4-FFF2-40B4-BE49-F238E27FC236}">
                  <a16:creationId xmlns:a16="http://schemas.microsoft.com/office/drawing/2014/main" id="{0C5A4080-6082-467E-9CBC-B0F8BBB7348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850118" y="3579587"/>
              <a:ext cx="2006600" cy="136800"/>
            </a:xfrm>
            <a:prstGeom prst="rect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sz="900" dirty="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35" name="ChevronTracker_Gray">
            <a:extLst>
              <a:ext uri="{FF2B5EF4-FFF2-40B4-BE49-F238E27FC236}">
                <a16:creationId xmlns:a16="http://schemas.microsoft.com/office/drawing/2014/main" id="{4BF3D363-3367-4601-AA4B-19C009108674}"/>
              </a:ext>
            </a:extLst>
          </p:cNvPr>
          <p:cNvGrpSpPr/>
          <p:nvPr userDrawn="1"/>
        </p:nvGrpSpPr>
        <p:grpSpPr>
          <a:xfrm>
            <a:off x="8221484" y="5176279"/>
            <a:ext cx="1367465" cy="457200"/>
            <a:chOff x="4850118" y="4055611"/>
            <a:chExt cx="1367465" cy="457200"/>
          </a:xfrm>
        </p:grpSpPr>
        <p:sp>
          <p:nvSpPr>
            <p:cNvPr id="36" name="Selected">
              <a:extLst>
                <a:ext uri="{FF2B5EF4-FFF2-40B4-BE49-F238E27FC236}">
                  <a16:creationId xmlns:a16="http://schemas.microsoft.com/office/drawing/2014/main" id="{94F722C3-DE19-4208-BD66-291D9CBC026B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850118" y="4055611"/>
              <a:ext cx="711200" cy="457200"/>
            </a:xfrm>
            <a:prstGeom prst="homePlate">
              <a:avLst>
                <a:gd name="adj" fmla="val 14821"/>
              </a:avLst>
            </a:prstGeom>
            <a:solidFill>
              <a:srgbClr val="80808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 b="1" dirty="0">
                  <a:solidFill>
                    <a:srgbClr val="FFFFFF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37" name="Unselected">
              <a:extLst>
                <a:ext uri="{FF2B5EF4-FFF2-40B4-BE49-F238E27FC236}">
                  <a16:creationId xmlns:a16="http://schemas.microsoft.com/office/drawing/2014/main" id="{2FF187ED-0297-4D59-BE42-ADD836FA9CCA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517465" y="4055611"/>
              <a:ext cx="700118" cy="457200"/>
            </a:xfrm>
            <a:prstGeom prst="chevron">
              <a:avLst>
                <a:gd name="adj" fmla="val 14881"/>
              </a:avLst>
            </a:pr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 dirty="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38" name="ChevronTracker_Blue">
            <a:extLst>
              <a:ext uri="{FF2B5EF4-FFF2-40B4-BE49-F238E27FC236}">
                <a16:creationId xmlns:a16="http://schemas.microsoft.com/office/drawing/2014/main" id="{AA2082D3-6CAB-44C2-8A5A-E96A69D49A30}"/>
              </a:ext>
            </a:extLst>
          </p:cNvPr>
          <p:cNvGrpSpPr/>
          <p:nvPr userDrawn="1"/>
        </p:nvGrpSpPr>
        <p:grpSpPr>
          <a:xfrm>
            <a:off x="6570485" y="5176279"/>
            <a:ext cx="1350334" cy="457200"/>
            <a:chOff x="4850119" y="3988499"/>
            <a:chExt cx="1350334" cy="457200"/>
          </a:xfrm>
        </p:grpSpPr>
        <p:sp>
          <p:nvSpPr>
            <p:cNvPr id="39" name="Selected">
              <a:extLst>
                <a:ext uri="{FF2B5EF4-FFF2-40B4-BE49-F238E27FC236}">
                  <a16:creationId xmlns:a16="http://schemas.microsoft.com/office/drawing/2014/main" id="{4FE9BE2F-D6E2-4CE5-A6C8-BDDA4D4F0B6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850119" y="3988499"/>
              <a:ext cx="670522" cy="457200"/>
            </a:xfrm>
            <a:prstGeom prst="homePlate">
              <a:avLst>
                <a:gd name="adj" fmla="val 14107"/>
              </a:avLst>
            </a:prstGeom>
            <a:solidFill>
              <a:srgbClr val="FFE6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 b="1" dirty="0">
                  <a:solidFill>
                    <a:srgbClr val="2E2E38"/>
                  </a:solidFill>
                  <a:latin typeface="EYInterstate Light" panose="02000506000000020004"/>
                </a:rPr>
                <a:t>Selected</a:t>
              </a:r>
            </a:p>
          </p:txBody>
        </p:sp>
        <p:sp>
          <p:nvSpPr>
            <p:cNvPr id="40" name="Unselected">
              <a:extLst>
                <a:ext uri="{FF2B5EF4-FFF2-40B4-BE49-F238E27FC236}">
                  <a16:creationId xmlns:a16="http://schemas.microsoft.com/office/drawing/2014/main" id="{6FF67708-B5EC-4325-BB88-D8C6A9B3F59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489253" y="3988499"/>
              <a:ext cx="711200" cy="457200"/>
            </a:xfrm>
            <a:prstGeom prst="chevron">
              <a:avLst>
                <a:gd name="adj" fmla="val 14464"/>
              </a:avLst>
            </a:prstGeom>
            <a:solidFill>
              <a:srgbClr val="E1E1E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>
              <a:noAutofit/>
            </a:bodyPr>
            <a:lstStyle/>
            <a:p>
              <a:pPr algn="ctr" eaLnBrk="0"/>
              <a:r>
                <a:rPr lang="en-US" sz="900" dirty="0">
                  <a:solidFill>
                    <a:srgbClr val="747480"/>
                  </a:solidFill>
                  <a:latin typeface="EYInterstate Light" panose="02000506000000020004"/>
                </a:rPr>
                <a:t>Unselected</a:t>
              </a:r>
            </a:p>
          </p:txBody>
        </p:sp>
      </p:grpSp>
      <p:grpSp>
        <p:nvGrpSpPr>
          <p:cNvPr id="44" name="Flag">
            <a:extLst>
              <a:ext uri="{FF2B5EF4-FFF2-40B4-BE49-F238E27FC236}">
                <a16:creationId xmlns:a16="http://schemas.microsoft.com/office/drawing/2014/main" id="{893A5313-43EA-4118-8CFD-1A5820BD987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11265718" y="45720"/>
            <a:ext cx="329184" cy="218458"/>
            <a:chOff x="1" y="749"/>
            <a:chExt cx="458953" cy="327687"/>
          </a:xfrm>
        </p:grpSpPr>
        <p:sp>
          <p:nvSpPr>
            <p:cNvPr id="45" name="imageBackground_637277204436084394">
              <a:extLst>
                <a:ext uri="{FF2B5EF4-FFF2-40B4-BE49-F238E27FC236}">
                  <a16:creationId xmlns:a16="http://schemas.microsoft.com/office/drawing/2014/main" id="{FDDAEF19-AA89-4320-9C58-A5702DA78E2A}"/>
                </a:ext>
              </a:extLst>
            </p:cNvPr>
            <p:cNvSpPr/>
            <p:nvPr/>
          </p:nvSpPr>
          <p:spPr>
            <a:xfrm>
              <a:off x="2" y="749"/>
              <a:ext cx="458952" cy="327687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6" name="image_637277204436084394">
              <a:extLst>
                <a:ext uri="{FF2B5EF4-FFF2-40B4-BE49-F238E27FC236}">
                  <a16:creationId xmlns:a16="http://schemas.microsoft.com/office/drawing/2014/main" id="{232F366D-A54C-460C-9F48-D6AA39CADBB9}"/>
                </a:ext>
              </a:extLst>
            </p:cNvPr>
            <p:cNvPicPr>
              <a:picLocks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" y="749"/>
              <a:ext cx="458952" cy="327687"/>
            </a:xfrm>
            <a:prstGeom prst="rect">
              <a:avLst/>
            </a:prstGeom>
          </p:spPr>
        </p:pic>
      </p:grpSp>
      <p:sp>
        <p:nvSpPr>
          <p:cNvPr id="47" name="ST_Bubble">
            <a:extLst>
              <a:ext uri="{FF2B5EF4-FFF2-40B4-BE49-F238E27FC236}">
                <a16:creationId xmlns:a16="http://schemas.microsoft.com/office/drawing/2014/main" id="{44C6E1A7-0002-4D03-A0A7-771B3A536E20}"/>
              </a:ext>
            </a:extLst>
          </p:cNvPr>
          <p:cNvSpPr/>
          <p:nvPr userDrawn="1"/>
        </p:nvSpPr>
        <p:spPr>
          <a:xfrm>
            <a:off x="609601" y="949989"/>
            <a:ext cx="249208" cy="249208"/>
          </a:xfrm>
          <a:prstGeom prst="ellipse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 defTabSz="913943"/>
            <a:r>
              <a:rPr lang="en-US" sz="1400" b="1" dirty="0">
                <a:solidFill>
                  <a:srgbClr val="2E2E38"/>
                </a:solidFill>
                <a:latin typeface="EYInterstate Light" panose="02000506000000020004"/>
              </a:rPr>
              <a:t>1</a:t>
            </a:r>
          </a:p>
        </p:txBody>
      </p:sp>
      <p:sp>
        <p:nvSpPr>
          <p:cNvPr id="48" name="PhoneMeQuote">
            <a:extLst>
              <a:ext uri="{FF2B5EF4-FFF2-40B4-BE49-F238E27FC236}">
                <a16:creationId xmlns:a16="http://schemas.microsoft.com/office/drawing/2014/main" id="{8C074EB3-5EDC-457C-9B5B-108C01B4AF9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81917" y="5633479"/>
            <a:ext cx="4764422" cy="527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266700" marR="0" lvl="0" indent="-266700" algn="l" defTabSz="914400" rtl="0" eaLnBrk="1" fontAlgn="auto" latinLnBrk="0" hangingPunct="1">
              <a:lnSpc>
                <a:spcPct val="95000"/>
              </a:lnSpc>
              <a:spcBef>
                <a:spcPct val="50000"/>
              </a:spcBef>
              <a:buClr>
                <a:srgbClr val="1A9AFA"/>
              </a:buClr>
              <a:buSzPct val="160000"/>
              <a:buFontTx/>
              <a:buBlip>
                <a:blip r:embed="rId29"/>
              </a:buBlip>
              <a:tabLst/>
              <a:defRPr/>
            </a:pPr>
            <a:r>
              <a:rPr kumimoji="0" lang="en-US" altLang="de-DE" sz="1200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/>
                <a:ea typeface="+mn-ea"/>
                <a:cs typeface="+mn-cs"/>
              </a:rPr>
              <a:t>quote text quote text quote text quote text quote text quote text.”</a:t>
            </a:r>
          </a:p>
          <a:p>
            <a:pPr marL="266700" marR="0" lvl="0" algn="l" defTabSz="914400" rtl="0" eaLnBrk="1" fontAlgn="auto" latinLnBrk="0" hangingPunct="1">
              <a:lnSpc>
                <a:spcPct val="95000"/>
              </a:lnSpc>
              <a:spcBef>
                <a:spcPct val="20000"/>
              </a:spcBef>
              <a:buClr>
                <a:srgbClr val="1A9AFA"/>
              </a:buClr>
              <a:buSzPct val="160000"/>
              <a:tabLst/>
              <a:defRPr/>
            </a:pPr>
            <a:r>
              <a:rPr lang="en-US" altLang="de-DE" sz="1000" dirty="0">
                <a:solidFill>
                  <a:srgbClr val="FFFFFF"/>
                </a:solidFill>
                <a:latin typeface="EYInterstate Light" panose="02000506000000020004"/>
              </a:rPr>
              <a:t>Attribute / name + company (2pt less than quote itself)</a:t>
            </a:r>
          </a:p>
        </p:txBody>
      </p:sp>
      <p:sp>
        <p:nvSpPr>
          <p:cNvPr id="53" name="Source" descr="Source">
            <a:extLst>
              <a:ext uri="{FF2B5EF4-FFF2-40B4-BE49-F238E27FC236}">
                <a16:creationId xmlns:a16="http://schemas.microsoft.com/office/drawing/2014/main" id="{71C30B41-9AC8-4F53-BDAC-B5447C2693FB}"/>
              </a:ext>
            </a:extLst>
          </p:cNvPr>
          <p:cNvSpPr txBox="1"/>
          <p:nvPr userDrawn="1"/>
        </p:nvSpPr>
        <p:spPr>
          <a:xfrm>
            <a:off x="609601" y="6309360"/>
            <a:ext cx="990140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 dirty="0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Source: xxx; </a:t>
            </a:r>
            <a:r>
              <a:rPr lang="en-US" sz="800" dirty="0" err="1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yyy</a:t>
            </a:r>
            <a:r>
              <a:rPr lang="en-US" sz="800" dirty="0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; </a:t>
            </a:r>
            <a:r>
              <a:rPr lang="en-US" sz="800" dirty="0" err="1">
                <a:solidFill>
                  <a:srgbClr val="FFFFFF"/>
                </a:solidFill>
                <a:latin typeface="EYInterstate Light" panose="02000506000000020004"/>
                <a:cs typeface="Arial" panose="020B0604020202020204" pitchFamily="34" charset="0"/>
              </a:rPr>
              <a:t>zzz</a:t>
            </a:r>
            <a:endParaRPr lang="en-US" sz="800" dirty="0">
              <a:solidFill>
                <a:srgbClr val="FFFFFF"/>
              </a:solidFill>
              <a:latin typeface="EYInterstate Light" panose="02000506000000020004"/>
              <a:cs typeface="Arial" panose="020B0604020202020204" pitchFamily="34" charset="0"/>
            </a:endParaRPr>
          </a:p>
        </p:txBody>
      </p:sp>
      <p:sp>
        <p:nvSpPr>
          <p:cNvPr id="54" name="TitleTextBox">
            <a:extLst>
              <a:ext uri="{FF2B5EF4-FFF2-40B4-BE49-F238E27FC236}">
                <a16:creationId xmlns:a16="http://schemas.microsoft.com/office/drawing/2014/main" id="{6B154346-90EC-41D0-AC44-4C5E5DDD22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2329" y="1723150"/>
            <a:ext cx="3536886" cy="439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26000" lvl="0" indent="-126000" algn="l">
              <a:spcBef>
                <a:spcPct val="20000"/>
              </a:spcBef>
              <a:buClr>
                <a:srgbClr val="FFE600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de-DE" sz="1200" dirty="0">
                <a:solidFill>
                  <a:schemeClr val="bg1"/>
                </a:solidFill>
                <a:cs typeface="Arial" panose="020B0604020202020204" pitchFamily="34" charset="0"/>
              </a:rPr>
              <a:t>xxx</a:t>
            </a:r>
          </a:p>
        </p:txBody>
      </p:sp>
      <p:grpSp>
        <p:nvGrpSpPr>
          <p:cNvPr id="61" name="Title">
            <a:extLst>
              <a:ext uri="{FF2B5EF4-FFF2-40B4-BE49-F238E27FC236}">
                <a16:creationId xmlns:a16="http://schemas.microsoft.com/office/drawing/2014/main" id="{36ACC5AB-BE2D-4FE1-A3A6-C689C4BE3700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603383" y="1327150"/>
            <a:ext cx="3532843" cy="230251"/>
            <a:chOff x="2832361" y="2174191"/>
            <a:chExt cx="3534683" cy="171119"/>
          </a:xfrm>
        </p:grpSpPr>
        <p:sp>
          <p:nvSpPr>
            <p:cNvPr id="62" name="Arrow: Left-Right 61">
              <a:extLst>
                <a:ext uri="{FF2B5EF4-FFF2-40B4-BE49-F238E27FC236}">
                  <a16:creationId xmlns:a16="http://schemas.microsoft.com/office/drawing/2014/main" id="{4A3C51BB-1AE8-416D-A3E7-A34FBBC51E2D}"/>
                </a:ext>
              </a:extLst>
            </p:cNvPr>
            <p:cNvSpPr/>
            <p:nvPr/>
          </p:nvSpPr>
          <p:spPr>
            <a:xfrm>
              <a:off x="2832361" y="2174191"/>
              <a:ext cx="3534683" cy="1711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b" anchorCtr="0">
              <a:spAutoFit/>
            </a:bodyPr>
            <a:lstStyle/>
            <a:p>
              <a:pPr algn="ctr" defTabSz="68509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E600"/>
                </a:buClr>
                <a:buSzPct val="80000"/>
              </a:pPr>
              <a:r>
                <a:rPr lang="en-US" sz="1400" b="1" kern="0" dirty="0">
                  <a:solidFill>
                    <a:srgbClr val="FFE600"/>
                  </a:solidFill>
                  <a:latin typeface="EYInterstate Light" panose="02000506000000020004" pitchFamily="2" charset="0"/>
                </a:rPr>
                <a:t>Title (units)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170780C-C1BD-496A-A2A7-33C26E5E8641}"/>
                </a:ext>
              </a:extLst>
            </p:cNvPr>
            <p:cNvCxnSpPr>
              <a:stCxn id="62" idx="4"/>
              <a:endCxn id="62" idx="6"/>
            </p:cNvCxnSpPr>
            <p:nvPr/>
          </p:nvCxnSpPr>
          <p:spPr>
            <a:xfrm>
              <a:off x="2832361" y="2345310"/>
              <a:ext cx="3534683" cy="0"/>
            </a:xfrm>
            <a:prstGeom prst="line">
              <a:avLst/>
            </a:prstGeom>
            <a:ln w="19050" cap="flat" cmpd="sng" algn="ctr">
              <a:solidFill>
                <a:srgbClr val="FFE6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SurveyTitle">
            <a:extLst>
              <a:ext uri="{FF2B5EF4-FFF2-40B4-BE49-F238E27FC236}">
                <a16:creationId xmlns:a16="http://schemas.microsoft.com/office/drawing/2014/main" id="{3B2679DF-4A7D-4355-AF5F-B27FA2C27F18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6185084" y="2076951"/>
            <a:ext cx="5245225" cy="696909"/>
            <a:chOff x="609600" y="1340286"/>
            <a:chExt cx="5245225" cy="696909"/>
          </a:xfrm>
        </p:grpSpPr>
        <p:sp>
          <p:nvSpPr>
            <p:cNvPr id="65" name="Arrow: Left-Right 64">
              <a:extLst>
                <a:ext uri="{FF2B5EF4-FFF2-40B4-BE49-F238E27FC236}">
                  <a16:creationId xmlns:a16="http://schemas.microsoft.com/office/drawing/2014/main" id="{5603811D-534E-4BDA-8F47-6B4DCEF03022}"/>
                </a:ext>
              </a:extLst>
            </p:cNvPr>
            <p:cNvSpPr/>
            <p:nvPr/>
          </p:nvSpPr>
          <p:spPr>
            <a:xfrm>
              <a:off x="613566" y="1340286"/>
              <a:ext cx="5237292" cy="288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0" tIns="0" rIns="0" bIns="71963" rtlCol="0" anchor="t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FFE600"/>
                  </a:solidFill>
                  <a:latin typeface="EYInterstate Light" panose="02000506000000020004"/>
                </a:rPr>
                <a:t>Survey title</a:t>
              </a: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AA3692B4-461B-42A4-9E24-D5F8D277E1CC}"/>
                </a:ext>
              </a:extLst>
            </p:cNvPr>
            <p:cNvSpPr/>
            <p:nvPr/>
          </p:nvSpPr>
          <p:spPr>
            <a:xfrm>
              <a:off x="609600" y="1596738"/>
              <a:ext cx="5245225" cy="440457"/>
            </a:xfrm>
            <a:prstGeom prst="roundRect">
              <a:avLst/>
            </a:prstGeom>
            <a:noFill/>
            <a:ln w="9525">
              <a:solidFill>
                <a:srgbClr val="7474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0" tIns="0" rIns="72000" bIns="0" rtlCol="0" anchor="ctr" anchorCtr="0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  <a:latin typeface="EYInterstate Light" panose="02000506000000020004"/>
                  <a:cs typeface="Arial" panose="020B0604020202020204" pitchFamily="34" charset="0"/>
                </a:rPr>
                <a:t>“Question?”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D1617962-2195-4CEF-A540-BA9549783004}"/>
                </a:ext>
              </a:extLst>
            </p:cNvPr>
            <p:cNvGrpSpPr/>
            <p:nvPr/>
          </p:nvGrpSpPr>
          <p:grpSpPr>
            <a:xfrm>
              <a:off x="702035" y="1667460"/>
              <a:ext cx="299012" cy="299012"/>
              <a:chOff x="4894822" y="5127044"/>
              <a:chExt cx="192186" cy="192186"/>
            </a:xfrm>
          </p:grpSpPr>
          <p:sp>
            <p:nvSpPr>
              <p:cNvPr id="68" name="VectorBackground">
                <a:extLst>
                  <a:ext uri="{FF2B5EF4-FFF2-40B4-BE49-F238E27FC236}">
                    <a16:creationId xmlns:a16="http://schemas.microsoft.com/office/drawing/2014/main" id="{3A29A8AB-54D0-479E-82F6-6EEF0059AC53}"/>
                  </a:ext>
                </a:extLst>
              </p:cNvPr>
              <p:cNvSpPr/>
              <p:nvPr/>
            </p:nvSpPr>
            <p:spPr>
              <a:xfrm>
                <a:off x="4894822" y="5127044"/>
                <a:ext cx="192186" cy="192186"/>
              </a:xfrm>
              <a:prstGeom prst="ellipse">
                <a:avLst/>
              </a:prstGeom>
              <a:solidFill>
                <a:srgbClr val="FFE6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de-DE" sz="1200" dirty="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69" name="Gruppieren 260">
                <a:extLst>
                  <a:ext uri="{FF2B5EF4-FFF2-40B4-BE49-F238E27FC236}">
                    <a16:creationId xmlns:a16="http://schemas.microsoft.com/office/drawing/2014/main" id="{16A72514-9BAD-48AD-B643-7E1709F99202}"/>
                  </a:ext>
                </a:extLst>
              </p:cNvPr>
              <p:cNvGrpSpPr/>
              <p:nvPr/>
            </p:nvGrpSpPr>
            <p:grpSpPr>
              <a:xfrm>
                <a:off x="4953528" y="5138109"/>
                <a:ext cx="91539" cy="159572"/>
                <a:chOff x="6815138" y="2216943"/>
                <a:chExt cx="208034" cy="362646"/>
              </a:xfrm>
            </p:grpSpPr>
            <p:sp>
              <p:nvSpPr>
                <p:cNvPr id="70" name="VectorShape">
                  <a:extLst>
                    <a:ext uri="{FF2B5EF4-FFF2-40B4-BE49-F238E27FC236}">
                      <a16:creationId xmlns:a16="http://schemas.microsoft.com/office/drawing/2014/main" id="{CCEB7EA8-1B40-4293-A57F-29F1AD617B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5138" y="2216943"/>
                  <a:ext cx="208034" cy="258391"/>
                </a:xfrm>
                <a:custGeom>
                  <a:avLst/>
                  <a:gdLst>
                    <a:gd name="T0" fmla="*/ 4 w 91"/>
                    <a:gd name="T1" fmla="*/ 33 h 115"/>
                    <a:gd name="T2" fmla="*/ 10 w 91"/>
                    <a:gd name="T3" fmla="*/ 21 h 115"/>
                    <a:gd name="T4" fmla="*/ 79 w 91"/>
                    <a:gd name="T5" fmla="*/ 32 h 115"/>
                    <a:gd name="T6" fmla="*/ 73 w 91"/>
                    <a:gd name="T7" fmla="*/ 74 h 115"/>
                    <a:gd name="T8" fmla="*/ 45 w 91"/>
                    <a:gd name="T9" fmla="*/ 107 h 115"/>
                    <a:gd name="T10" fmla="*/ 36 w 91"/>
                    <a:gd name="T11" fmla="*/ 114 h 115"/>
                    <a:gd name="T12" fmla="*/ 27 w 91"/>
                    <a:gd name="T13" fmla="*/ 107 h 115"/>
                    <a:gd name="T14" fmla="*/ 45 w 91"/>
                    <a:gd name="T15" fmla="*/ 74 h 115"/>
                    <a:gd name="T16" fmla="*/ 59 w 91"/>
                    <a:gd name="T17" fmla="*/ 41 h 115"/>
                    <a:gd name="T18" fmla="*/ 15 w 91"/>
                    <a:gd name="T19" fmla="*/ 39 h 115"/>
                    <a:gd name="T20" fmla="*/ 4 w 91"/>
                    <a:gd name="T21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1" h="115">
                      <a:moveTo>
                        <a:pt x="4" y="33"/>
                      </a:moveTo>
                      <a:cubicBezTo>
                        <a:pt x="4" y="33"/>
                        <a:pt x="0" y="24"/>
                        <a:pt x="10" y="21"/>
                      </a:cubicBezTo>
                      <a:cubicBezTo>
                        <a:pt x="10" y="21"/>
                        <a:pt x="64" y="0"/>
                        <a:pt x="79" y="32"/>
                      </a:cubicBezTo>
                      <a:cubicBezTo>
                        <a:pt x="79" y="32"/>
                        <a:pt x="91" y="56"/>
                        <a:pt x="73" y="74"/>
                      </a:cubicBezTo>
                      <a:cubicBezTo>
                        <a:pt x="55" y="92"/>
                        <a:pt x="48" y="97"/>
                        <a:pt x="45" y="107"/>
                      </a:cubicBezTo>
                      <a:cubicBezTo>
                        <a:pt x="45" y="107"/>
                        <a:pt x="43" y="114"/>
                        <a:pt x="36" y="114"/>
                      </a:cubicBezTo>
                      <a:cubicBezTo>
                        <a:pt x="36" y="114"/>
                        <a:pt x="28" y="115"/>
                        <a:pt x="27" y="107"/>
                      </a:cubicBezTo>
                      <a:cubicBezTo>
                        <a:pt x="27" y="107"/>
                        <a:pt x="26" y="89"/>
                        <a:pt x="45" y="74"/>
                      </a:cubicBezTo>
                      <a:cubicBezTo>
                        <a:pt x="45" y="74"/>
                        <a:pt x="67" y="60"/>
                        <a:pt x="59" y="41"/>
                      </a:cubicBezTo>
                      <a:cubicBezTo>
                        <a:pt x="59" y="41"/>
                        <a:pt x="55" y="25"/>
                        <a:pt x="15" y="39"/>
                      </a:cubicBezTo>
                      <a:cubicBezTo>
                        <a:pt x="15" y="39"/>
                        <a:pt x="7" y="41"/>
                        <a:pt x="4" y="33"/>
                      </a:cubicBez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71" name="VectorShape">
                  <a:extLst>
                    <a:ext uri="{FF2B5EF4-FFF2-40B4-BE49-F238E27FC236}">
                      <a16:creationId xmlns:a16="http://schemas.microsoft.com/office/drawing/2014/main" id="{6B730DFC-77A9-4B76-905F-52921081D9B6}"/>
                    </a:ext>
                  </a:extLst>
                </p:cNvPr>
                <p:cNvSpPr/>
                <p:nvPr/>
              </p:nvSpPr>
              <p:spPr>
                <a:xfrm>
                  <a:off x="6864344" y="2509836"/>
                  <a:ext cx="70466" cy="69753"/>
                </a:xfrm>
                <a:prstGeom prst="roundRect">
                  <a:avLst>
                    <a:gd name="adj" fmla="val 31161"/>
                  </a:avLst>
                </a:prstGeom>
                <a:solidFill>
                  <a:srgbClr val="2E2E3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algn="ctr"/>
                  <a:endParaRPr lang="de-DE" sz="1200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</p:grpSp>
      </p:grpSp>
      <p:graphicFrame>
        <p:nvGraphicFramePr>
          <p:cNvPr id="80" name="Table">
            <a:extLst>
              <a:ext uri="{FF2B5EF4-FFF2-40B4-BE49-F238E27FC236}">
                <a16:creationId xmlns:a16="http://schemas.microsoft.com/office/drawing/2014/main" id="{F32AD63F-82AB-48D7-8BA2-2A90A3C40DE0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82949462"/>
              </p:ext>
            </p:extLst>
          </p:nvPr>
        </p:nvGraphicFramePr>
        <p:xfrm>
          <a:off x="1181917" y="2328855"/>
          <a:ext cx="4590693" cy="2349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0355">
                  <a:extLst>
                    <a:ext uri="{9D8B030D-6E8A-4147-A177-3AD203B41FA5}">
                      <a16:colId xmlns:a16="http://schemas.microsoft.com/office/drawing/2014/main" val="1000314679"/>
                    </a:ext>
                  </a:extLst>
                </a:gridCol>
                <a:gridCol w="1595169">
                  <a:extLst>
                    <a:ext uri="{9D8B030D-6E8A-4147-A177-3AD203B41FA5}">
                      <a16:colId xmlns:a16="http://schemas.microsoft.com/office/drawing/2014/main" val="587981265"/>
                    </a:ext>
                  </a:extLst>
                </a:gridCol>
                <a:gridCol w="1595169">
                  <a:extLst>
                    <a:ext uri="{9D8B030D-6E8A-4147-A177-3AD203B41FA5}">
                      <a16:colId xmlns:a16="http://schemas.microsoft.com/office/drawing/2014/main" val="4248580404"/>
                    </a:ext>
                  </a:extLst>
                </a:gridCol>
              </a:tblGrid>
              <a:tr h="237744">
                <a:tc>
                  <a:txBody>
                    <a:bodyPr/>
                    <a:lstStyle/>
                    <a:p>
                      <a:pPr marL="108000" indent="-108000" algn="ctr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 dirty="0">
                          <a:solidFill>
                            <a:srgbClr val="2E2E38"/>
                          </a:solidFill>
                          <a:latin typeface="EYInterstate Light" panose="02000506000000020004"/>
                        </a:rPr>
                        <a:t>Column header</a:t>
                      </a: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ctr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 dirty="0">
                          <a:solidFill>
                            <a:srgbClr val="2E2E38"/>
                          </a:solidFill>
                          <a:latin typeface="+mn-lt"/>
                        </a:rPr>
                        <a:t>Column header</a:t>
                      </a:r>
                      <a:endParaRPr lang="en-US" sz="1200" b="0" dirty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ctr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 dirty="0">
                          <a:solidFill>
                            <a:srgbClr val="2E2E38"/>
                          </a:solidFill>
                          <a:latin typeface="+mn-lt"/>
                        </a:rPr>
                        <a:t>Column header</a:t>
                      </a:r>
                      <a:endParaRPr lang="en-US" sz="1200" b="0" dirty="0">
                        <a:solidFill>
                          <a:srgbClr val="2E2E38"/>
                        </a:solidFill>
                        <a:latin typeface="EYInterstate Light" panose="02000506000000020004"/>
                      </a:endParaRP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55119"/>
                  </a:ext>
                </a:extLst>
              </a:tr>
              <a:tr h="1055878">
                <a:tc>
                  <a:txBody>
                    <a:bodyPr/>
                    <a:lstStyle/>
                    <a:p>
                      <a:pPr marL="90000" indent="-90000" algn="l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 dirty="0">
                          <a:solidFill>
                            <a:srgbClr val="FFE600"/>
                          </a:solidFill>
                          <a:latin typeface="EYInterstate Light" panose="02000506000000020004"/>
                        </a:rPr>
                        <a:t>Row header</a:t>
                      </a: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2E38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buClrTx/>
                        <a:buSzPct val="75000"/>
                        <a:buFont typeface="Wingdings 3" panose="05040102010807070707" pitchFamily="18" charset="2"/>
                        <a:buChar char=""/>
                      </a:pPr>
                      <a:r>
                        <a:rPr lang="en-US" sz="1200" b="0" dirty="0">
                          <a:solidFill>
                            <a:srgbClr val="FFFFFF"/>
                          </a:solidFill>
                          <a:latin typeface="EYInterstate Light" panose="02000506000000020004"/>
                        </a:rPr>
                        <a:t>Main Text</a:t>
                      </a: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2E38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 3" panose="05040102010807070707" pitchFamily="18" charset="2"/>
                        <a:buChar char="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FFFFFF"/>
                          </a:solidFill>
                          <a:latin typeface="+mn-lt"/>
                        </a:rPr>
                        <a:t>Main Text</a:t>
                      </a:r>
                      <a:endParaRPr lang="en-US" sz="1200" b="0" dirty="0">
                        <a:solidFill>
                          <a:srgbClr val="FFFFFF"/>
                        </a:solidFill>
                        <a:latin typeface="EYInterstate Light" panose="02000506000000020004"/>
                      </a:endParaRP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2E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429890"/>
                  </a:ext>
                </a:extLst>
              </a:tr>
              <a:tr h="1055878">
                <a:tc>
                  <a:txBody>
                    <a:bodyPr/>
                    <a:lstStyle/>
                    <a:p>
                      <a:pPr marL="90000" indent="-90000" algn="l">
                        <a:buClr>
                          <a:srgbClr val="1A9AFA"/>
                        </a:buClr>
                        <a:buSzPct val="75000"/>
                        <a:buFontTx/>
                        <a:buNone/>
                      </a:pPr>
                      <a:r>
                        <a:rPr lang="en-US" sz="1200" b="0" dirty="0">
                          <a:solidFill>
                            <a:srgbClr val="FFE600"/>
                          </a:solidFill>
                          <a:latin typeface="EYInterstate Light" panose="02000506000000020004"/>
                        </a:rPr>
                        <a:t>Row header</a:t>
                      </a: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2E38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 3" panose="05040102010807070707" pitchFamily="18" charset="2"/>
                        <a:buChar char="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FFFFFF"/>
                          </a:solidFill>
                          <a:latin typeface="+mn-lt"/>
                        </a:rPr>
                        <a:t>Main Text</a:t>
                      </a:r>
                      <a:endParaRPr lang="en-US" sz="1200" b="0" dirty="0">
                        <a:solidFill>
                          <a:srgbClr val="FFFFFF"/>
                        </a:solidFill>
                        <a:latin typeface="EYInterstate Light" panose="02000506000000020004"/>
                      </a:endParaRP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2E38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 3" panose="05040102010807070707" pitchFamily="18" charset="2"/>
                        <a:buChar char="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FFFFFF"/>
                          </a:solidFill>
                          <a:latin typeface="+mn-lt"/>
                        </a:rPr>
                        <a:t>Main Text</a:t>
                      </a:r>
                    </a:p>
                  </a:txBody>
                  <a:tcPr marL="71972" marR="71972" marT="0" marB="0" anchor="ctr">
                    <a:lnL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E4E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2E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924294"/>
                  </a:ext>
                </a:extLst>
              </a:tr>
            </a:tbl>
          </a:graphicData>
        </a:graphic>
      </p:graphicFrame>
      <p:sp>
        <p:nvSpPr>
          <p:cNvPr id="52" name="Bullets Dark Text">
            <a:extLst>
              <a:ext uri="{FF2B5EF4-FFF2-40B4-BE49-F238E27FC236}">
                <a16:creationId xmlns:a16="http://schemas.microsoft.com/office/drawing/2014/main" id="{CE8B0543-8724-41C3-B2A0-0CCB0626463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141254" y="3137343"/>
            <a:ext cx="1281130" cy="507831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26000" indent="-126000">
              <a:buClr>
                <a:srgbClr val="000000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de-DE" sz="1100" dirty="0">
                <a:solidFill>
                  <a:srgbClr val="000000"/>
                </a:solidFill>
                <a:latin typeface="+mn-lt"/>
              </a:rPr>
              <a:t>First level</a:t>
            </a:r>
          </a:p>
          <a:p>
            <a:pPr marL="266400" lvl="1" indent="-126000">
              <a:buClr>
                <a:srgbClr val="000000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altLang="de-DE" sz="1100" dirty="0">
                <a:solidFill>
                  <a:srgbClr val="000000"/>
                </a:solidFill>
                <a:latin typeface="+mn-lt"/>
              </a:rPr>
              <a:t>Second level</a:t>
            </a:r>
          </a:p>
          <a:p>
            <a:pPr marL="356400" lvl="2" indent="-90000"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de-DE" sz="1100" dirty="0">
                <a:solidFill>
                  <a:srgbClr val="000000"/>
                </a:solidFill>
                <a:latin typeface="+mn-lt"/>
              </a:rPr>
              <a:t>Third level</a:t>
            </a:r>
          </a:p>
        </p:txBody>
      </p:sp>
      <p:sp>
        <p:nvSpPr>
          <p:cNvPr id="55" name="Bullets Light Text">
            <a:extLst>
              <a:ext uri="{FF2B5EF4-FFF2-40B4-BE49-F238E27FC236}">
                <a16:creationId xmlns:a16="http://schemas.microsoft.com/office/drawing/2014/main" id="{B21ED863-A010-4D9E-B159-E026C0BBA4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9142320" y="3835998"/>
            <a:ext cx="1280064" cy="507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26000" indent="-126000">
              <a:buClr>
                <a:srgbClr val="FFE600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US" altLang="de-DE" sz="1100" dirty="0">
                <a:solidFill>
                  <a:srgbClr val="FFFFFF"/>
                </a:solidFill>
                <a:latin typeface="+mn-lt"/>
              </a:rPr>
              <a:t>First level</a:t>
            </a:r>
          </a:p>
          <a:p>
            <a:pPr marL="266400" lvl="1" indent="-126000">
              <a:buClr>
                <a:srgbClr val="FFE600"/>
              </a:buClr>
              <a:buSzPct val="75000"/>
              <a:buFont typeface="Arial" panose="020B0604020202020204" pitchFamily="34" charset="0"/>
              <a:buChar char="–"/>
            </a:pPr>
            <a:r>
              <a:rPr lang="en-US" altLang="de-DE" sz="1100" dirty="0">
                <a:solidFill>
                  <a:srgbClr val="FFFFFF"/>
                </a:solidFill>
                <a:latin typeface="+mn-lt"/>
              </a:rPr>
              <a:t>Second level</a:t>
            </a:r>
          </a:p>
          <a:p>
            <a:pPr marL="356400" lvl="2" indent="-90000">
              <a:buClr>
                <a:srgbClr val="FFE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de-DE" sz="1100" dirty="0">
                <a:solidFill>
                  <a:srgbClr val="FFFFFF"/>
                </a:solidFill>
                <a:latin typeface="+mn-lt"/>
              </a:rPr>
              <a:t>Third level</a:t>
            </a:r>
          </a:p>
        </p:txBody>
      </p:sp>
      <p:sp>
        <p:nvSpPr>
          <p:cNvPr id="56" name="Line 10">
            <a:extLst>
              <a:ext uri="{FF2B5EF4-FFF2-40B4-BE49-F238E27FC236}">
                <a16:creationId xmlns:a16="http://schemas.microsoft.com/office/drawing/2014/main" id="{17F6E40D-E21C-4BE3-A475-F3F018A4889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0" name="Date Placeholder 3">
            <a:extLst>
              <a:ext uri="{FF2B5EF4-FFF2-40B4-BE49-F238E27FC236}">
                <a16:creationId xmlns:a16="http://schemas.microsoft.com/office/drawing/2014/main" id="{87B876BB-C76F-4A00-8CC9-B10FF153D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2CAA955-C688-4D17-A718-E12620276EB6}" type="datetime3">
              <a:rPr lang="en-US" smtClean="0"/>
              <a:pPr/>
              <a:t>8 February 2023</a:t>
            </a:fld>
            <a:endParaRPr lang="en-US" noProof="0" dirty="0"/>
          </a:p>
        </p:txBody>
      </p:sp>
      <p:sp>
        <p:nvSpPr>
          <p:cNvPr id="72" name="Footer Placeholder 4">
            <a:extLst>
              <a:ext uri="{FF2B5EF4-FFF2-40B4-BE49-F238E27FC236}">
                <a16:creationId xmlns:a16="http://schemas.microsoft.com/office/drawing/2014/main" id="{C6F82934-B98E-4306-ADB7-DC00B95591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73" name="Slide Number Placeholder 5">
            <a:extLst>
              <a:ext uri="{FF2B5EF4-FFF2-40B4-BE49-F238E27FC236}">
                <a16:creationId xmlns:a16="http://schemas.microsoft.com/office/drawing/2014/main" id="{0A196BAF-7772-448B-A7FF-2B16B3F0C8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15719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535926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02617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853854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266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67055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60627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7183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5371334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1488AA-3647-E3D5-2B5E-4285CFAFF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3224" y="3711388"/>
            <a:ext cx="5295208" cy="23744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A30A685-8838-2901-0DEA-B996392144C8}"/>
              </a:ext>
            </a:extLst>
          </p:cNvPr>
          <p:cNvCxnSpPr/>
          <p:nvPr userDrawn="1"/>
        </p:nvCxnSpPr>
        <p:spPr>
          <a:xfrm>
            <a:off x="6142207" y="1137920"/>
            <a:ext cx="0" cy="4947920"/>
          </a:xfrm>
          <a:prstGeom prst="line">
            <a:avLst/>
          </a:prstGeom>
          <a:ln w="19050">
            <a:solidFill>
              <a:schemeClr val="bg1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8B61D77-E384-D3CE-17A2-324B80E1E2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03162" y="1137920"/>
            <a:ext cx="2550382" cy="2455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17AA3A-9B4B-F39B-45ED-7FC41BE54FB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04560" y="1137920"/>
            <a:ext cx="2550382" cy="2455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5871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34604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51840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87793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89675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3769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2904398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1333031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75055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44863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523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A001A0-461C-4881-92BD-6D14D60C6734}"/>
              </a:ext>
            </a:extLst>
          </p:cNvPr>
          <p:cNvGrpSpPr/>
          <p:nvPr userDrawn="1"/>
        </p:nvGrpSpPr>
        <p:grpSpPr>
          <a:xfrm>
            <a:off x="609917" y="1213910"/>
            <a:ext cx="6737552" cy="5049727"/>
            <a:chOff x="609918" y="1036356"/>
            <a:chExt cx="3944327" cy="538571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CC66B39-1193-4E74-8B11-0EB2B57730FA}"/>
                </a:ext>
              </a:extLst>
            </p:cNvPr>
            <p:cNvGrpSpPr/>
            <p:nvPr/>
          </p:nvGrpSpPr>
          <p:grpSpPr>
            <a:xfrm>
              <a:off x="609919" y="2079107"/>
              <a:ext cx="3944326" cy="4342967"/>
              <a:chOff x="609920" y="1169759"/>
              <a:chExt cx="3944326" cy="4342967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C584981-083F-4096-93BA-8E17CDB9A61F}"/>
                  </a:ext>
                </a:extLst>
              </p:cNvPr>
              <p:cNvSpPr/>
              <p:nvPr/>
            </p:nvSpPr>
            <p:spPr>
              <a:xfrm>
                <a:off x="609920" y="1304241"/>
                <a:ext cx="3944326" cy="4208485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2F93340-5F0D-4DEB-88F7-394820D8CCDD}"/>
                  </a:ext>
                </a:extLst>
              </p:cNvPr>
              <p:cNvSpPr/>
              <p:nvPr/>
            </p:nvSpPr>
            <p:spPr>
              <a:xfrm>
                <a:off x="814106" y="1169759"/>
                <a:ext cx="1121228" cy="260619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Event Information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5C04FB7-432F-46EE-9513-DFE3667B8287}"/>
                </a:ext>
              </a:extLst>
            </p:cNvPr>
            <p:cNvGrpSpPr/>
            <p:nvPr/>
          </p:nvGrpSpPr>
          <p:grpSpPr>
            <a:xfrm>
              <a:off x="609918" y="1036356"/>
              <a:ext cx="3944327" cy="894935"/>
              <a:chOff x="609918" y="1073238"/>
              <a:chExt cx="3944327" cy="894935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D9E9E15-0B8F-4774-9D25-8D2E6AAF9DD1}"/>
                  </a:ext>
                </a:extLst>
              </p:cNvPr>
              <p:cNvSpPr/>
              <p:nvPr/>
            </p:nvSpPr>
            <p:spPr>
              <a:xfrm>
                <a:off x="609918" y="1203547"/>
                <a:ext cx="3944327" cy="764626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74C6E0D9-C179-488C-944E-5E20FC38C563}"/>
                  </a:ext>
                </a:extLst>
              </p:cNvPr>
              <p:cNvSpPr/>
              <p:nvPr/>
            </p:nvSpPr>
            <p:spPr>
              <a:xfrm>
                <a:off x="814105" y="1073238"/>
                <a:ext cx="1121228" cy="260619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Event</a:t>
                </a:r>
              </a:p>
            </p:txBody>
          </p:sp>
        </p:grpSp>
      </p:grp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8F9BFFA-BFB2-49A5-8E6C-00C7B486AAA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0219" y="2574561"/>
            <a:ext cx="6647248" cy="3628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sz="1400"/>
            </a:lvl1pPr>
            <a:lvl2pPr marL="356616" indent="0">
              <a:buNone/>
              <a:defRPr sz="1200"/>
            </a:lvl2pPr>
            <a:lvl3pPr marL="713232" indent="0">
              <a:buNone/>
              <a:defRPr sz="1100"/>
            </a:lvl3pPr>
            <a:lvl4pPr marL="1069848" indent="0">
              <a:buNone/>
              <a:defRPr sz="1050"/>
            </a:lvl4pPr>
            <a:lvl5pPr marL="142646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F1186F6-2748-4A8B-BD7F-E9F938B34687}"/>
              </a:ext>
            </a:extLst>
          </p:cNvPr>
          <p:cNvCxnSpPr/>
          <p:nvPr userDrawn="1"/>
        </p:nvCxnSpPr>
        <p:spPr>
          <a:xfrm>
            <a:off x="7531287" y="1213910"/>
            <a:ext cx="0" cy="4947920"/>
          </a:xfrm>
          <a:prstGeom prst="line">
            <a:avLst/>
          </a:prstGeom>
          <a:ln w="19050">
            <a:solidFill>
              <a:schemeClr val="bg1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B2598D-C29A-CF4D-8B0D-5D85FF23A7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218" y="1466843"/>
            <a:ext cx="6647249" cy="5861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sz="1600"/>
            </a:lvl1pPr>
            <a:lvl2pPr marL="356616" indent="0">
              <a:buNone/>
              <a:defRPr sz="1400"/>
            </a:lvl2pPr>
            <a:lvl3pPr marL="713232" indent="0">
              <a:buNone/>
              <a:defRPr sz="1200"/>
            </a:lvl3pPr>
            <a:lvl4pPr marL="1069848" indent="0">
              <a:buNone/>
              <a:defRPr sz="1100"/>
            </a:lvl4pPr>
            <a:lvl5pPr marL="1426464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930903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45469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13011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511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3206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3029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2637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85388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96913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78686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398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5DFFC8-10BE-902F-0D81-FFAA0EF05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547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76493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94127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84426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326768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69649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6875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50208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98530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97055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935517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158AF-CA20-F61A-DD34-E21A3E7C9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Line 10">
            <a:extLst>
              <a:ext uri="{FF2B5EF4-FFF2-40B4-BE49-F238E27FC236}">
                <a16:creationId xmlns:a16="http://schemas.microsoft.com/office/drawing/2014/main" id="{5F982EBE-211B-E5CB-E3C6-DC5BC3F782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00F28B-94CF-1E23-3DD1-EA00DD459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407395F-FB47-3492-F644-A89C6CB1E2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3819" y="6467475"/>
            <a:ext cx="146304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61A81A9-6412-0EB4-2F9B-8473DBCC92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67475"/>
            <a:ext cx="457200" cy="183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2471409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48874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9183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83206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473481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92853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09212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58725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866372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330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1820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57759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5371334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199"/>
            </a:lvl4pPr>
            <a:lvl5pPr>
              <a:defRPr sz="10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1488AA-3647-E3D5-2B5E-4285CFAFF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3224" y="3711390"/>
            <a:ext cx="5295208" cy="23744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199"/>
            </a:lvl4pPr>
            <a:lvl5pPr>
              <a:defRPr sz="10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A30A685-8838-2901-0DEA-B996392144C8}"/>
              </a:ext>
            </a:extLst>
          </p:cNvPr>
          <p:cNvCxnSpPr/>
          <p:nvPr userDrawn="1"/>
        </p:nvCxnSpPr>
        <p:spPr>
          <a:xfrm>
            <a:off x="6142207" y="1137920"/>
            <a:ext cx="0" cy="4947920"/>
          </a:xfrm>
          <a:prstGeom prst="line">
            <a:avLst/>
          </a:prstGeom>
          <a:ln w="19050">
            <a:solidFill>
              <a:schemeClr val="bg1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8B61D77-E384-D3CE-17A2-324B80E1E2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03162" y="1137922"/>
            <a:ext cx="2550382" cy="2455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99"/>
            </a:lvl1pPr>
            <a:lvl2pPr>
              <a:defRPr sz="1199"/>
            </a:lvl2pPr>
            <a:lvl3pPr>
              <a:defRPr sz="1199"/>
            </a:lvl3pPr>
            <a:lvl4pPr>
              <a:defRPr sz="1199"/>
            </a:lvl4pPr>
            <a:lvl5pPr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17AA3A-9B4B-F39B-45ED-7FC41BE54FB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04560" y="1137922"/>
            <a:ext cx="2550382" cy="2455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99"/>
            </a:lvl1pPr>
            <a:lvl2pPr>
              <a:defRPr sz="1199"/>
            </a:lvl2pPr>
            <a:lvl3pPr>
              <a:defRPr sz="1199"/>
            </a:lvl3pPr>
            <a:lvl4pPr>
              <a:defRPr sz="1199"/>
            </a:lvl4pPr>
            <a:lvl5pPr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52625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16023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190384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8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4189435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199"/>
            </a:lvl4pPr>
            <a:lvl5pPr>
              <a:defRPr sz="10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29924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5371334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199"/>
            </a:lvl4pPr>
            <a:lvl5pPr>
              <a:defRPr sz="10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1488AA-3647-E3D5-2B5E-4285CFAFF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3224" y="3711390"/>
            <a:ext cx="5295208" cy="23744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199"/>
            </a:lvl4pPr>
            <a:lvl5pPr>
              <a:defRPr sz="10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8B61D77-E384-D3CE-17A2-324B80E1E2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03162" y="1137922"/>
            <a:ext cx="2550382" cy="2455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99"/>
            </a:lvl1pPr>
            <a:lvl2pPr>
              <a:defRPr sz="1199"/>
            </a:lvl2pPr>
            <a:lvl3pPr>
              <a:defRPr sz="1199"/>
            </a:lvl3pPr>
            <a:lvl4pPr>
              <a:defRPr sz="1199"/>
            </a:lvl4pPr>
            <a:lvl5pPr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17AA3A-9B4B-F39B-45ED-7FC41BE54FB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04560" y="1137922"/>
            <a:ext cx="2550382" cy="2455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99"/>
            </a:lvl1pPr>
            <a:lvl2pPr>
              <a:defRPr sz="1199"/>
            </a:lvl2pPr>
            <a:lvl3pPr>
              <a:defRPr sz="1199"/>
            </a:lvl3pPr>
            <a:lvl4pPr>
              <a:defRPr sz="1199"/>
            </a:lvl4pPr>
            <a:lvl5pPr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03000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A001A0-461C-4881-92BD-6D14D60C6734}"/>
              </a:ext>
            </a:extLst>
          </p:cNvPr>
          <p:cNvGrpSpPr/>
          <p:nvPr userDrawn="1"/>
        </p:nvGrpSpPr>
        <p:grpSpPr>
          <a:xfrm>
            <a:off x="609917" y="1213912"/>
            <a:ext cx="6737552" cy="5049727"/>
            <a:chOff x="609918" y="1036356"/>
            <a:chExt cx="3944327" cy="538571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CC66B39-1193-4E74-8B11-0EB2B57730FA}"/>
                </a:ext>
              </a:extLst>
            </p:cNvPr>
            <p:cNvGrpSpPr/>
            <p:nvPr/>
          </p:nvGrpSpPr>
          <p:grpSpPr>
            <a:xfrm>
              <a:off x="609919" y="2079107"/>
              <a:ext cx="3944326" cy="4342967"/>
              <a:chOff x="609920" y="1169759"/>
              <a:chExt cx="3944326" cy="4342967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C584981-083F-4096-93BA-8E17CDB9A61F}"/>
                  </a:ext>
                </a:extLst>
              </p:cNvPr>
              <p:cNvSpPr/>
              <p:nvPr/>
            </p:nvSpPr>
            <p:spPr>
              <a:xfrm>
                <a:off x="609920" y="1304241"/>
                <a:ext cx="3944326" cy="4208485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3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99" b="0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2F93340-5F0D-4DEB-88F7-394820D8CCDD}"/>
                  </a:ext>
                </a:extLst>
              </p:cNvPr>
              <p:cNvSpPr/>
              <p:nvPr/>
            </p:nvSpPr>
            <p:spPr>
              <a:xfrm>
                <a:off x="814106" y="1169759"/>
                <a:ext cx="1121228" cy="260619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3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9" b="1" i="0" u="none" strike="noStrike" kern="1200" cap="none" spc="0" normalizeH="0" baseline="0" noProof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Event Information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5C04FB7-432F-46EE-9513-DFE3667B8287}"/>
                </a:ext>
              </a:extLst>
            </p:cNvPr>
            <p:cNvGrpSpPr/>
            <p:nvPr/>
          </p:nvGrpSpPr>
          <p:grpSpPr>
            <a:xfrm>
              <a:off x="609918" y="1036356"/>
              <a:ext cx="3944327" cy="894935"/>
              <a:chOff x="609918" y="1073238"/>
              <a:chExt cx="3944327" cy="894935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D9E9E15-0B8F-4774-9D25-8D2E6AAF9DD1}"/>
                  </a:ext>
                </a:extLst>
              </p:cNvPr>
              <p:cNvSpPr/>
              <p:nvPr/>
            </p:nvSpPr>
            <p:spPr>
              <a:xfrm>
                <a:off x="609918" y="1203547"/>
                <a:ext cx="3944327" cy="764626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3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99" b="0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74C6E0D9-C179-488C-944E-5E20FC38C563}"/>
                  </a:ext>
                </a:extLst>
              </p:cNvPr>
              <p:cNvSpPr/>
              <p:nvPr/>
            </p:nvSpPr>
            <p:spPr>
              <a:xfrm>
                <a:off x="814105" y="1073238"/>
                <a:ext cx="1121228" cy="260619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3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9" b="1" i="0" u="none" strike="noStrike" kern="1200" cap="none" spc="0" normalizeH="0" baseline="0" noProof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/>
                    <a:ea typeface="+mn-ea"/>
                    <a:cs typeface="+mn-cs"/>
                  </a:rPr>
                  <a:t>Event</a:t>
                </a:r>
              </a:p>
            </p:txBody>
          </p:sp>
        </p:grpSp>
      </p:grp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8F9BFFA-BFB2-49A5-8E6C-00C7B486AAA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0219" y="2574563"/>
            <a:ext cx="6647248" cy="3628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sz="1399"/>
            </a:lvl1pPr>
            <a:lvl2pPr marL="356438" indent="0">
              <a:buNone/>
              <a:defRPr sz="1199"/>
            </a:lvl2pPr>
            <a:lvl3pPr marL="712875" indent="0">
              <a:buNone/>
              <a:defRPr sz="1099"/>
            </a:lvl3pPr>
            <a:lvl4pPr marL="1069313" indent="0">
              <a:buNone/>
              <a:defRPr sz="1049"/>
            </a:lvl4pPr>
            <a:lvl5pPr marL="1425751" indent="0">
              <a:buNone/>
              <a:defRPr sz="9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F1186F6-2748-4A8B-BD7F-E9F938B34687}"/>
              </a:ext>
            </a:extLst>
          </p:cNvPr>
          <p:cNvCxnSpPr/>
          <p:nvPr userDrawn="1"/>
        </p:nvCxnSpPr>
        <p:spPr>
          <a:xfrm>
            <a:off x="7531287" y="1213910"/>
            <a:ext cx="0" cy="4947920"/>
          </a:xfrm>
          <a:prstGeom prst="line">
            <a:avLst/>
          </a:prstGeom>
          <a:ln w="19050">
            <a:solidFill>
              <a:schemeClr val="bg1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B2598D-C29A-CF4D-8B0D-5D85FF23A7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219" y="1466845"/>
            <a:ext cx="6647249" cy="5861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sz="1599"/>
            </a:lvl1pPr>
            <a:lvl2pPr marL="356438" indent="0">
              <a:buNone/>
              <a:defRPr sz="1399"/>
            </a:lvl2pPr>
            <a:lvl3pPr marL="712875" indent="0">
              <a:buNone/>
              <a:defRPr sz="1199"/>
            </a:lvl3pPr>
            <a:lvl4pPr marL="1069313" indent="0">
              <a:buNone/>
              <a:defRPr sz="1099"/>
            </a:lvl4pPr>
            <a:lvl5pPr marL="1425751" indent="0">
              <a:buNone/>
              <a:defRPr sz="10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5315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5DFFC8-10BE-902F-0D81-FFAA0EF05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977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47" Type="http://schemas.openxmlformats.org/officeDocument/2006/relationships/slideLayout" Target="../slideLayouts/slideLayout89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slideLayout" Target="../slideLayouts/slideLayout87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slideLayout" Target="../slideLayouts/slideLayout86.xml"/><Relationship Id="rId52" Type="http://schemas.openxmlformats.org/officeDocument/2006/relationships/oleObject" Target="../embeddings/oleObject4.bin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slideLayout" Target="../slideLayouts/slideLayout85.xml"/><Relationship Id="rId48" Type="http://schemas.openxmlformats.org/officeDocument/2006/relationships/slideLayout" Target="../slideLayouts/slideLayout90.xml"/><Relationship Id="rId8" Type="http://schemas.openxmlformats.org/officeDocument/2006/relationships/slideLayout" Target="../slideLayouts/slideLayout50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62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49" Type="http://schemas.openxmlformats.org/officeDocument/2006/relationships/slideLayout" Target="../slideLayouts/slideLayout9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9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13.xml"/><Relationship Id="rId34" Type="http://schemas.openxmlformats.org/officeDocument/2006/relationships/slideLayout" Target="../slideLayouts/slideLayout126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slideLayout" Target="../slideLayouts/slideLayout124.xml"/><Relationship Id="rId37" Type="http://schemas.openxmlformats.org/officeDocument/2006/relationships/slideLayout" Target="../slideLayouts/slideLayout129.xml"/><Relationship Id="rId40" Type="http://schemas.openxmlformats.org/officeDocument/2006/relationships/slideLayout" Target="../slideLayouts/slideLayout132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36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31" Type="http://schemas.openxmlformats.org/officeDocument/2006/relationships/slideLayout" Target="../slideLayouts/slideLayout123.xml"/><Relationship Id="rId44" Type="http://schemas.openxmlformats.org/officeDocument/2006/relationships/oleObject" Target="../embeddings/oleObject6.bin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35" Type="http://schemas.openxmlformats.org/officeDocument/2006/relationships/slideLayout" Target="../slideLayouts/slideLayout127.xml"/><Relationship Id="rId43" Type="http://schemas.openxmlformats.org/officeDocument/2006/relationships/tags" Target="../tags/tag30.xml"/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slideLayout" Target="../slideLayouts/slideLayout125.xml"/><Relationship Id="rId38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12.xml"/><Relationship Id="rId41" Type="http://schemas.openxmlformats.org/officeDocument/2006/relationships/slideLayout" Target="../slideLayouts/slideLayout1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06CE4-B617-4F2D-88AF-E41FADBD9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52255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395" imgH="394" progId="TCLayout.ActiveDocument.1">
                  <p:embed/>
                </p:oleObj>
              </mc:Choice>
              <mc:Fallback>
                <p:oleObj name="think-cell Slide" r:id="rId4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A06CE4-B617-4F2D-88AF-E41FADBD9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3819" y="6467475"/>
            <a:ext cx="146304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67475"/>
            <a:ext cx="457200" cy="183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FBC9507-F9FC-4E34-A70F-CDDA037DB01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31719" y="6239530"/>
            <a:ext cx="457200" cy="455890"/>
            <a:chOff x="7418388" y="3444875"/>
            <a:chExt cx="554038" cy="552451"/>
          </a:xfrm>
        </p:grpSpPr>
        <p:sp>
          <p:nvSpPr>
            <p:cNvPr id="15" name="Line 194">
              <a:extLst>
                <a:ext uri="{FF2B5EF4-FFF2-40B4-BE49-F238E27FC236}">
                  <a16:creationId xmlns:a16="http://schemas.microsoft.com/office/drawing/2014/main" id="{1549A240-932C-4917-A4B1-DE7D9C7900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96200" y="3589338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16" name="Line 180">
              <a:extLst>
                <a:ext uri="{FF2B5EF4-FFF2-40B4-BE49-F238E27FC236}">
                  <a16:creationId xmlns:a16="http://schemas.microsoft.com/office/drawing/2014/main" id="{4DB1007F-6210-4147-BD3B-EF53AD363B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99363" y="3516313"/>
              <a:ext cx="96838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17" name="Freeform 181">
              <a:extLst>
                <a:ext uri="{FF2B5EF4-FFF2-40B4-BE49-F238E27FC236}">
                  <a16:creationId xmlns:a16="http://schemas.microsoft.com/office/drawing/2014/main" id="{5BBCD0DA-C7C8-4375-A747-F785598DF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757613"/>
              <a:ext cx="192088" cy="239713"/>
            </a:xfrm>
            <a:custGeom>
              <a:avLst/>
              <a:gdLst>
                <a:gd name="T0" fmla="*/ 0 w 121"/>
                <a:gd name="T1" fmla="*/ 45 h 151"/>
                <a:gd name="T2" fmla="*/ 61 w 121"/>
                <a:gd name="T3" fmla="*/ 0 h 151"/>
                <a:gd name="T4" fmla="*/ 121 w 121"/>
                <a:gd name="T5" fmla="*/ 45 h 151"/>
                <a:gd name="T6" fmla="*/ 121 w 121"/>
                <a:gd name="T7" fmla="*/ 106 h 151"/>
                <a:gd name="T8" fmla="*/ 61 w 121"/>
                <a:gd name="T9" fmla="*/ 151 h 151"/>
                <a:gd name="T10" fmla="*/ 0 w 121"/>
                <a:gd name="T11" fmla="*/ 106 h 151"/>
                <a:gd name="T12" fmla="*/ 0 w 121"/>
                <a:gd name="T13" fmla="*/ 4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1">
                  <a:moveTo>
                    <a:pt x="0" y="45"/>
                  </a:moveTo>
                  <a:lnTo>
                    <a:pt x="61" y="0"/>
                  </a:lnTo>
                  <a:lnTo>
                    <a:pt x="121" y="45"/>
                  </a:lnTo>
                  <a:lnTo>
                    <a:pt x="121" y="106"/>
                  </a:lnTo>
                  <a:lnTo>
                    <a:pt x="61" y="151"/>
                  </a:lnTo>
                  <a:lnTo>
                    <a:pt x="0" y="106"/>
                  </a:lnTo>
                  <a:lnTo>
                    <a:pt x="0" y="45"/>
                  </a:lnTo>
                  <a:close/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18" name="Line 182">
              <a:extLst>
                <a:ext uri="{FF2B5EF4-FFF2-40B4-BE49-F238E27FC236}">
                  <a16:creationId xmlns:a16="http://schemas.microsoft.com/office/drawing/2014/main" id="{06F51AC9-484B-4277-AC86-0E5795ABFD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62850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19" name="Freeform 183">
              <a:extLst>
                <a:ext uri="{FF2B5EF4-FFF2-40B4-BE49-F238E27FC236}">
                  <a16:creationId xmlns:a16="http://schemas.microsoft.com/office/drawing/2014/main" id="{1B4AFD49-367B-437D-BC9D-27B258F92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829050"/>
              <a:ext cx="192088" cy="73025"/>
            </a:xfrm>
            <a:custGeom>
              <a:avLst/>
              <a:gdLst>
                <a:gd name="T0" fmla="*/ 0 w 121"/>
                <a:gd name="T1" fmla="*/ 0 h 46"/>
                <a:gd name="T2" fmla="*/ 61 w 121"/>
                <a:gd name="T3" fmla="*/ 46 h 46"/>
                <a:gd name="T4" fmla="*/ 121 w 121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6">
                  <a:moveTo>
                    <a:pt x="0" y="0"/>
                  </a:moveTo>
                  <a:lnTo>
                    <a:pt x="61" y="46"/>
                  </a:lnTo>
                  <a:lnTo>
                    <a:pt x="121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2" name="Freeform 184">
              <a:extLst>
                <a:ext uri="{FF2B5EF4-FFF2-40B4-BE49-F238E27FC236}">
                  <a16:creationId xmlns:a16="http://schemas.microsoft.com/office/drawing/2014/main" id="{9C54A872-9D5A-4889-9EB4-28A6AD6D8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00450"/>
              <a:ext cx="193675" cy="241300"/>
            </a:xfrm>
            <a:custGeom>
              <a:avLst/>
              <a:gdLst>
                <a:gd name="T0" fmla="*/ 91 w 122"/>
                <a:gd name="T1" fmla="*/ 129 h 152"/>
                <a:gd name="T2" fmla="*/ 61 w 122"/>
                <a:gd name="T3" fmla="*/ 152 h 152"/>
                <a:gd name="T4" fmla="*/ 0 w 122"/>
                <a:gd name="T5" fmla="*/ 106 h 152"/>
                <a:gd name="T6" fmla="*/ 0 w 122"/>
                <a:gd name="T7" fmla="*/ 46 h 152"/>
                <a:gd name="T8" fmla="*/ 61 w 122"/>
                <a:gd name="T9" fmla="*/ 0 h 152"/>
                <a:gd name="T10" fmla="*/ 122 w 122"/>
                <a:gd name="T11" fmla="*/ 46 h 152"/>
                <a:gd name="T12" fmla="*/ 122 w 122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52">
                  <a:moveTo>
                    <a:pt x="91" y="129"/>
                  </a:moveTo>
                  <a:lnTo>
                    <a:pt x="61" y="152"/>
                  </a:lnTo>
                  <a:lnTo>
                    <a:pt x="0" y="106"/>
                  </a:lnTo>
                  <a:lnTo>
                    <a:pt x="0" y="46"/>
                  </a:lnTo>
                  <a:lnTo>
                    <a:pt x="61" y="0"/>
                  </a:lnTo>
                  <a:lnTo>
                    <a:pt x="122" y="46"/>
                  </a:lnTo>
                  <a:lnTo>
                    <a:pt x="122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3" name="Freeform 185">
              <a:extLst>
                <a:ext uri="{FF2B5EF4-FFF2-40B4-BE49-F238E27FC236}">
                  <a16:creationId xmlns:a16="http://schemas.microsoft.com/office/drawing/2014/main" id="{A8F76F97-47D6-4A08-B728-E13B29E45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73475"/>
              <a:ext cx="193675" cy="71438"/>
            </a:xfrm>
            <a:custGeom>
              <a:avLst/>
              <a:gdLst>
                <a:gd name="T0" fmla="*/ 0 w 122"/>
                <a:gd name="T1" fmla="*/ 0 h 45"/>
                <a:gd name="T2" fmla="*/ 61 w 122"/>
                <a:gd name="T3" fmla="*/ 45 h 45"/>
                <a:gd name="T4" fmla="*/ 122 w 122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45">
                  <a:moveTo>
                    <a:pt x="0" y="0"/>
                  </a:moveTo>
                  <a:lnTo>
                    <a:pt x="61" y="45"/>
                  </a:lnTo>
                  <a:lnTo>
                    <a:pt x="122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4" name="Line 186">
              <a:extLst>
                <a:ext uri="{FF2B5EF4-FFF2-40B4-BE49-F238E27FC236}">
                  <a16:creationId xmlns:a16="http://schemas.microsoft.com/office/drawing/2014/main" id="{5193F44C-308D-441C-883C-62E17BD8B9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81900" y="3600450"/>
              <a:ext cx="65088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5" name="Freeform 187">
              <a:extLst>
                <a:ext uri="{FF2B5EF4-FFF2-40B4-BE49-F238E27FC236}">
                  <a16:creationId xmlns:a16="http://schemas.microsoft.com/office/drawing/2014/main" id="{965B7241-8496-4C4E-93EB-39527E5BD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6988" y="3649663"/>
              <a:ext cx="96838" cy="34925"/>
            </a:xfrm>
            <a:custGeom>
              <a:avLst/>
              <a:gdLst>
                <a:gd name="T0" fmla="*/ 61 w 61"/>
                <a:gd name="T1" fmla="*/ 0 h 22"/>
                <a:gd name="T2" fmla="*/ 31 w 61"/>
                <a:gd name="T3" fmla="*/ 22 h 22"/>
                <a:gd name="T4" fmla="*/ 0 w 61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22">
                  <a:moveTo>
                    <a:pt x="61" y="0"/>
                  </a:moveTo>
                  <a:lnTo>
                    <a:pt x="31" y="22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6" name="Freeform 188">
              <a:extLst>
                <a:ext uri="{FF2B5EF4-FFF2-40B4-BE49-F238E27FC236}">
                  <a16:creationId xmlns:a16="http://schemas.microsoft.com/office/drawing/2014/main" id="{C6BC0BBE-0490-4AE6-A815-3BDD02AAD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444875"/>
              <a:ext cx="192088" cy="144463"/>
            </a:xfrm>
            <a:custGeom>
              <a:avLst/>
              <a:gdLst>
                <a:gd name="T0" fmla="*/ 121 w 121"/>
                <a:gd name="T1" fmla="*/ 91 h 91"/>
                <a:gd name="T2" fmla="*/ 121 w 121"/>
                <a:gd name="T3" fmla="*/ 45 h 91"/>
                <a:gd name="T4" fmla="*/ 61 w 121"/>
                <a:gd name="T5" fmla="*/ 0 h 91"/>
                <a:gd name="T6" fmla="*/ 0 w 121"/>
                <a:gd name="T7" fmla="*/ 45 h 91"/>
                <a:gd name="T8" fmla="*/ 0 w 121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91">
                  <a:moveTo>
                    <a:pt x="121" y="91"/>
                  </a:moveTo>
                  <a:lnTo>
                    <a:pt x="121" y="45"/>
                  </a:lnTo>
                  <a:lnTo>
                    <a:pt x="61" y="0"/>
                  </a:lnTo>
                  <a:lnTo>
                    <a:pt x="0" y="45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7" name="Line 189">
              <a:extLst>
                <a:ext uri="{FF2B5EF4-FFF2-40B4-BE49-F238E27FC236}">
                  <a16:creationId xmlns:a16="http://schemas.microsoft.com/office/drawing/2014/main" id="{5B1FF79D-A313-4566-A4FB-842F7825AB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96200" y="3516313"/>
              <a:ext cx="95250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8" name="Line 190">
              <a:extLst>
                <a:ext uri="{FF2B5EF4-FFF2-40B4-BE49-F238E27FC236}">
                  <a16:creationId xmlns:a16="http://schemas.microsoft.com/office/drawing/2014/main" id="{8DB37C59-2DB8-452C-9735-ABCAE44BF6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61288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29" name="Freeform 191">
              <a:extLst>
                <a:ext uri="{FF2B5EF4-FFF2-40B4-BE49-F238E27FC236}">
                  <a16:creationId xmlns:a16="http://schemas.microsoft.com/office/drawing/2014/main" id="{FF911DF2-5B04-4999-B5B8-29D590B77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00450"/>
              <a:ext cx="192088" cy="241300"/>
            </a:xfrm>
            <a:custGeom>
              <a:avLst/>
              <a:gdLst>
                <a:gd name="T0" fmla="*/ 30 w 121"/>
                <a:gd name="T1" fmla="*/ 129 h 152"/>
                <a:gd name="T2" fmla="*/ 60 w 121"/>
                <a:gd name="T3" fmla="*/ 152 h 152"/>
                <a:gd name="T4" fmla="*/ 121 w 121"/>
                <a:gd name="T5" fmla="*/ 106 h 152"/>
                <a:gd name="T6" fmla="*/ 121 w 121"/>
                <a:gd name="T7" fmla="*/ 46 h 152"/>
                <a:gd name="T8" fmla="*/ 60 w 121"/>
                <a:gd name="T9" fmla="*/ 0 h 152"/>
                <a:gd name="T10" fmla="*/ 0 w 121"/>
                <a:gd name="T11" fmla="*/ 46 h 152"/>
                <a:gd name="T12" fmla="*/ 0 w 121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2">
                  <a:moveTo>
                    <a:pt x="30" y="129"/>
                  </a:moveTo>
                  <a:lnTo>
                    <a:pt x="60" y="152"/>
                  </a:lnTo>
                  <a:lnTo>
                    <a:pt x="121" y="106"/>
                  </a:lnTo>
                  <a:lnTo>
                    <a:pt x="121" y="46"/>
                  </a:lnTo>
                  <a:lnTo>
                    <a:pt x="60" y="0"/>
                  </a:lnTo>
                  <a:lnTo>
                    <a:pt x="0" y="46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0" name="Freeform 192">
              <a:extLst>
                <a:ext uri="{FF2B5EF4-FFF2-40B4-BE49-F238E27FC236}">
                  <a16:creationId xmlns:a16="http://schemas.microsoft.com/office/drawing/2014/main" id="{452278F1-E5A3-4A8A-96C0-937BE2CF8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73475"/>
              <a:ext cx="192088" cy="71438"/>
            </a:xfrm>
            <a:custGeom>
              <a:avLst/>
              <a:gdLst>
                <a:gd name="T0" fmla="*/ 121 w 121"/>
                <a:gd name="T1" fmla="*/ 0 h 45"/>
                <a:gd name="T2" fmla="*/ 60 w 121"/>
                <a:gd name="T3" fmla="*/ 45 h 45"/>
                <a:gd name="T4" fmla="*/ 0 w 121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5">
                  <a:moveTo>
                    <a:pt x="121" y="0"/>
                  </a:moveTo>
                  <a:lnTo>
                    <a:pt x="60" y="45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1" name="Line 193">
              <a:extLst>
                <a:ext uri="{FF2B5EF4-FFF2-40B4-BE49-F238E27FC236}">
                  <a16:creationId xmlns:a16="http://schemas.microsoft.com/office/drawing/2014/main" id="{EF580B89-AA21-434C-9817-C3917606C8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743825" y="3600450"/>
              <a:ext cx="66675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2" name="Line 195">
              <a:extLst>
                <a:ext uri="{FF2B5EF4-FFF2-40B4-BE49-F238E27FC236}">
                  <a16:creationId xmlns:a16="http://schemas.microsoft.com/office/drawing/2014/main" id="{BFB4E01A-349E-4DDE-8CB0-ED92E8AC96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5225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3" name="Line 196">
              <a:extLst>
                <a:ext uri="{FF2B5EF4-FFF2-40B4-BE49-F238E27FC236}">
                  <a16:creationId xmlns:a16="http://schemas.microsoft.com/office/drawing/2014/main" id="{A7B31162-19DA-42BD-8071-51D58988B3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96200" y="3902075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4" name="Line 197">
              <a:extLst>
                <a:ext uri="{FF2B5EF4-FFF2-40B4-BE49-F238E27FC236}">
                  <a16:creationId xmlns:a16="http://schemas.microsoft.com/office/drawing/2014/main" id="{0C8A29E1-EB40-45E8-8C9E-EB0F9C4D51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5588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</p:grp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25" r:id="rId2"/>
    <p:sldLayoutId id="2147483826" r:id="rId3"/>
    <p:sldLayoutId id="2147483827" r:id="rId4"/>
    <p:sldLayoutId id="2147484019" r:id="rId5"/>
    <p:sldLayoutId id="2147484020" r:id="rId6"/>
    <p:sldLayoutId id="2147483875" r:id="rId7"/>
    <p:sldLayoutId id="2147483840" r:id="rId8"/>
    <p:sldLayoutId id="2147483873" r:id="rId9"/>
    <p:sldLayoutId id="2147483872" r:id="rId10"/>
    <p:sldLayoutId id="2147483828" r:id="rId11"/>
    <p:sldLayoutId id="2147483877" r:id="rId12"/>
    <p:sldLayoutId id="2147483876" r:id="rId13"/>
    <p:sldLayoutId id="2147483871" r:id="rId14"/>
    <p:sldLayoutId id="2147483829" r:id="rId15"/>
    <p:sldLayoutId id="2147483923" r:id="rId16"/>
    <p:sldLayoutId id="2147483921" r:id="rId17"/>
    <p:sldLayoutId id="2147483830" r:id="rId18"/>
    <p:sldLayoutId id="2147483831" r:id="rId19"/>
    <p:sldLayoutId id="2147484018" r:id="rId20"/>
    <p:sldLayoutId id="2147483832" r:id="rId21"/>
    <p:sldLayoutId id="2147483833" r:id="rId22"/>
    <p:sldLayoutId id="2147483874" r:id="rId23"/>
    <p:sldLayoutId id="2147483839" r:id="rId24"/>
    <p:sldLayoutId id="2147483925" r:id="rId25"/>
    <p:sldLayoutId id="2147483926" r:id="rId26"/>
    <p:sldLayoutId id="2147483946" r:id="rId27"/>
    <p:sldLayoutId id="2147483947" r:id="rId28"/>
    <p:sldLayoutId id="2147483948" r:id="rId29"/>
    <p:sldLayoutId id="2147483949" r:id="rId30"/>
    <p:sldLayoutId id="2147483950" r:id="rId31"/>
    <p:sldLayoutId id="2147483951" r:id="rId32"/>
    <p:sldLayoutId id="2147483952" r:id="rId33"/>
    <p:sldLayoutId id="2147483953" r:id="rId34"/>
    <p:sldLayoutId id="2147483954" r:id="rId35"/>
    <p:sldLayoutId id="2147483955" r:id="rId36"/>
    <p:sldLayoutId id="2147483962" r:id="rId37"/>
    <p:sldLayoutId id="2147483963" r:id="rId38"/>
    <p:sldLayoutId id="2147483964" r:id="rId39"/>
    <p:sldLayoutId id="2147483966" r:id="rId40"/>
    <p:sldLayoutId id="2147484075" r:id="rId41"/>
    <p:sldLayoutId id="2147484118" r:id="rId42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06CE4-B617-4F2D-88AF-E41FADBD9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52255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95" imgH="394" progId="TCLayout.ActiveDocument.1">
                  <p:embed/>
                </p:oleObj>
              </mc:Choice>
              <mc:Fallback>
                <p:oleObj name="think-cell Slide" r:id="rId52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A06CE4-B617-4F2D-88AF-E41FADBD9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6887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44" r:id="rId20"/>
    <p:sldLayoutId id="2147484045" r:id="rId21"/>
    <p:sldLayoutId id="2147484046" r:id="rId22"/>
    <p:sldLayoutId id="2147484047" r:id="rId23"/>
    <p:sldLayoutId id="2147484048" r:id="rId24"/>
    <p:sldLayoutId id="2147484049" r:id="rId25"/>
    <p:sldLayoutId id="2147484050" r:id="rId26"/>
    <p:sldLayoutId id="2147484051" r:id="rId27"/>
    <p:sldLayoutId id="2147484052" r:id="rId28"/>
    <p:sldLayoutId id="2147484053" r:id="rId29"/>
    <p:sldLayoutId id="2147484054" r:id="rId30"/>
    <p:sldLayoutId id="2147484055" r:id="rId31"/>
    <p:sldLayoutId id="2147484056" r:id="rId32"/>
    <p:sldLayoutId id="2147484057" r:id="rId33"/>
    <p:sldLayoutId id="2147484058" r:id="rId34"/>
    <p:sldLayoutId id="2147484059" r:id="rId35"/>
    <p:sldLayoutId id="2147484060" r:id="rId36"/>
    <p:sldLayoutId id="2147484061" r:id="rId37"/>
    <p:sldLayoutId id="2147484062" r:id="rId38"/>
    <p:sldLayoutId id="2147484063" r:id="rId39"/>
    <p:sldLayoutId id="2147484064" r:id="rId40"/>
    <p:sldLayoutId id="2147484065" r:id="rId41"/>
    <p:sldLayoutId id="2147484066" r:id="rId42"/>
    <p:sldLayoutId id="2147484067" r:id="rId43"/>
    <p:sldLayoutId id="2147484068" r:id="rId44"/>
    <p:sldLayoutId id="2147484069" r:id="rId45"/>
    <p:sldLayoutId id="2147484070" r:id="rId46"/>
    <p:sldLayoutId id="2147484071" r:id="rId47"/>
    <p:sldLayoutId id="2147484072" r:id="rId48"/>
    <p:sldLayoutId id="2147484073" r:id="rId4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06CE4-B617-4F2D-88AF-E41FADBD9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2255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A06CE4-B617-4F2D-88AF-E41FADBD9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3819" y="6467475"/>
            <a:ext cx="146304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67477"/>
            <a:ext cx="457200" cy="183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8516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06CE4-B617-4F2D-88AF-E41FADBD9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51116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95" imgH="394" progId="TCLayout.ActiveDocument.1">
                  <p:embed/>
                </p:oleObj>
              </mc:Choice>
              <mc:Fallback>
                <p:oleObj name="think-cell Slide" r:id="rId4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A06CE4-B617-4F2D-88AF-E41FADBD9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3819" y="6467475"/>
            <a:ext cx="146304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BlockWager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67477"/>
            <a:ext cx="457200" cy="183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34463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  <p:sldLayoutId id="2147484089" r:id="rId13"/>
    <p:sldLayoutId id="2147484090" r:id="rId14"/>
    <p:sldLayoutId id="2147484091" r:id="rId15"/>
    <p:sldLayoutId id="2147484092" r:id="rId16"/>
    <p:sldLayoutId id="2147484093" r:id="rId17"/>
    <p:sldLayoutId id="2147484094" r:id="rId18"/>
    <p:sldLayoutId id="2147484095" r:id="rId19"/>
    <p:sldLayoutId id="2147484096" r:id="rId20"/>
    <p:sldLayoutId id="2147484097" r:id="rId21"/>
    <p:sldLayoutId id="2147484098" r:id="rId22"/>
    <p:sldLayoutId id="2147484099" r:id="rId23"/>
    <p:sldLayoutId id="2147484100" r:id="rId24"/>
    <p:sldLayoutId id="2147484101" r:id="rId25"/>
    <p:sldLayoutId id="2147484102" r:id="rId26"/>
    <p:sldLayoutId id="2147484103" r:id="rId27"/>
    <p:sldLayoutId id="2147484104" r:id="rId28"/>
    <p:sldLayoutId id="2147484105" r:id="rId29"/>
    <p:sldLayoutId id="2147484106" r:id="rId30"/>
    <p:sldLayoutId id="2147484107" r:id="rId31"/>
    <p:sldLayoutId id="2147484108" r:id="rId32"/>
    <p:sldLayoutId id="2147484109" r:id="rId33"/>
    <p:sldLayoutId id="2147484110" r:id="rId34"/>
    <p:sldLayoutId id="2147484111" r:id="rId35"/>
    <p:sldLayoutId id="2147484112" r:id="rId36"/>
    <p:sldLayoutId id="2147484113" r:id="rId37"/>
    <p:sldLayoutId id="2147484114" r:id="rId38"/>
    <p:sldLayoutId id="2147484115" r:id="rId39"/>
    <p:sldLayoutId id="2147484116" r:id="rId40"/>
    <p:sldLayoutId id="2147484117" r:id="rId41"/>
  </p:sldLayoutIdLst>
  <p:hf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3.xml"/><Relationship Id="rId7" Type="http://schemas.openxmlformats.org/officeDocument/2006/relationships/image" Target="../media/image17.jfif"/><Relationship Id="rId12" Type="http://schemas.openxmlformats.org/officeDocument/2006/relationships/image" Target="../media/image2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6.jfif"/><Relationship Id="rId11" Type="http://schemas.openxmlformats.org/officeDocument/2006/relationships/image" Target="../media/image21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3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B80661A-F9D4-D5C7-784F-598F06B54B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4" y="1998149"/>
            <a:ext cx="4008379" cy="979702"/>
          </a:xfrm>
        </p:spPr>
        <p:txBody>
          <a:bodyPr>
            <a:normAutofit/>
          </a:bodyPr>
          <a:lstStyle/>
          <a:p>
            <a:r>
              <a:rPr lang="en-IN" dirty="0">
                <a:solidFill>
                  <a:srgbClr val="1CD0F4"/>
                </a:solidFill>
                <a:latin typeface="Arial" panose="020B0604020202020204" pitchFamily="34" charset="0"/>
              </a:rPr>
              <a:t>BlockWager</a:t>
            </a:r>
            <a:endParaRPr lang="en-GB" dirty="0">
              <a:solidFill>
                <a:srgbClr val="1CD0F4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A5F34D-7B56-46CC-A805-B72B59C950AD}"/>
              </a:ext>
            </a:extLst>
          </p:cNvPr>
          <p:cNvSpPr/>
          <p:nvPr/>
        </p:nvSpPr>
        <p:spPr>
          <a:xfrm>
            <a:off x="10400146" y="6604000"/>
            <a:ext cx="1798202" cy="254000"/>
          </a:xfrm>
          <a:prstGeom prst="rect">
            <a:avLst/>
          </a:prstGeom>
          <a:solidFill>
            <a:srgbClr val="000000">
              <a:alpha val="67843"/>
            </a:srgbClr>
          </a:solidFill>
          <a:ln w="9525"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2D8656-FE69-483E-81A4-A0DF61FA4A13}"/>
              </a:ext>
            </a:extLst>
          </p:cNvPr>
          <p:cNvSpPr txBox="1"/>
          <p:nvPr/>
        </p:nvSpPr>
        <p:spPr>
          <a:xfrm>
            <a:off x="10012218" y="6607889"/>
            <a:ext cx="20874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age source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xels.com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7ACA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05746C3-981C-400D-AA56-76936AAFFB92}"/>
              </a:ext>
            </a:extLst>
          </p:cNvPr>
          <p:cNvGrpSpPr>
            <a:grpSpLocks noChangeAspect="1"/>
          </p:cNvGrpSpPr>
          <p:nvPr/>
        </p:nvGrpSpPr>
        <p:grpSpPr>
          <a:xfrm>
            <a:off x="2939970" y="1787835"/>
            <a:ext cx="702177" cy="700165"/>
            <a:chOff x="7418388" y="3444875"/>
            <a:chExt cx="554038" cy="552451"/>
          </a:xfrm>
        </p:grpSpPr>
        <p:sp>
          <p:nvSpPr>
            <p:cNvPr id="37" name="Line 194">
              <a:extLst>
                <a:ext uri="{FF2B5EF4-FFF2-40B4-BE49-F238E27FC236}">
                  <a16:creationId xmlns:a16="http://schemas.microsoft.com/office/drawing/2014/main" id="{81ECF50E-AE53-4EE2-BD4E-D8CB37D0AA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96200" y="3589338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8" name="Line 180">
              <a:extLst>
                <a:ext uri="{FF2B5EF4-FFF2-40B4-BE49-F238E27FC236}">
                  <a16:creationId xmlns:a16="http://schemas.microsoft.com/office/drawing/2014/main" id="{B3507A2F-3A55-4A99-819B-874215B0F3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99363" y="3516313"/>
              <a:ext cx="96838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9" name="Freeform 181">
              <a:extLst>
                <a:ext uri="{FF2B5EF4-FFF2-40B4-BE49-F238E27FC236}">
                  <a16:creationId xmlns:a16="http://schemas.microsoft.com/office/drawing/2014/main" id="{742CAA1A-AEDC-4775-86DB-9A7D5F762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757613"/>
              <a:ext cx="192088" cy="239713"/>
            </a:xfrm>
            <a:custGeom>
              <a:avLst/>
              <a:gdLst>
                <a:gd name="T0" fmla="*/ 0 w 121"/>
                <a:gd name="T1" fmla="*/ 45 h 151"/>
                <a:gd name="T2" fmla="*/ 61 w 121"/>
                <a:gd name="T3" fmla="*/ 0 h 151"/>
                <a:gd name="T4" fmla="*/ 121 w 121"/>
                <a:gd name="T5" fmla="*/ 45 h 151"/>
                <a:gd name="T6" fmla="*/ 121 w 121"/>
                <a:gd name="T7" fmla="*/ 106 h 151"/>
                <a:gd name="T8" fmla="*/ 61 w 121"/>
                <a:gd name="T9" fmla="*/ 151 h 151"/>
                <a:gd name="T10" fmla="*/ 0 w 121"/>
                <a:gd name="T11" fmla="*/ 106 h 151"/>
                <a:gd name="T12" fmla="*/ 0 w 121"/>
                <a:gd name="T13" fmla="*/ 4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1">
                  <a:moveTo>
                    <a:pt x="0" y="45"/>
                  </a:moveTo>
                  <a:lnTo>
                    <a:pt x="61" y="0"/>
                  </a:lnTo>
                  <a:lnTo>
                    <a:pt x="121" y="45"/>
                  </a:lnTo>
                  <a:lnTo>
                    <a:pt x="121" y="106"/>
                  </a:lnTo>
                  <a:lnTo>
                    <a:pt x="61" y="151"/>
                  </a:lnTo>
                  <a:lnTo>
                    <a:pt x="0" y="106"/>
                  </a:lnTo>
                  <a:lnTo>
                    <a:pt x="0" y="45"/>
                  </a:lnTo>
                  <a:close/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0" name="Line 182">
              <a:extLst>
                <a:ext uri="{FF2B5EF4-FFF2-40B4-BE49-F238E27FC236}">
                  <a16:creationId xmlns:a16="http://schemas.microsoft.com/office/drawing/2014/main" id="{1E2DF9D4-0B33-466F-91CE-A0D4FBEFC1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62850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1" name="Freeform 183">
              <a:extLst>
                <a:ext uri="{FF2B5EF4-FFF2-40B4-BE49-F238E27FC236}">
                  <a16:creationId xmlns:a16="http://schemas.microsoft.com/office/drawing/2014/main" id="{DE24FB8D-E022-49E9-A789-879578273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829050"/>
              <a:ext cx="192088" cy="73025"/>
            </a:xfrm>
            <a:custGeom>
              <a:avLst/>
              <a:gdLst>
                <a:gd name="T0" fmla="*/ 0 w 121"/>
                <a:gd name="T1" fmla="*/ 0 h 46"/>
                <a:gd name="T2" fmla="*/ 61 w 121"/>
                <a:gd name="T3" fmla="*/ 46 h 46"/>
                <a:gd name="T4" fmla="*/ 121 w 121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6">
                  <a:moveTo>
                    <a:pt x="0" y="0"/>
                  </a:moveTo>
                  <a:lnTo>
                    <a:pt x="61" y="46"/>
                  </a:lnTo>
                  <a:lnTo>
                    <a:pt x="121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2" name="Freeform 184">
              <a:extLst>
                <a:ext uri="{FF2B5EF4-FFF2-40B4-BE49-F238E27FC236}">
                  <a16:creationId xmlns:a16="http://schemas.microsoft.com/office/drawing/2014/main" id="{1E168E82-2F94-4379-BE40-12D9B690E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00450"/>
              <a:ext cx="193675" cy="241300"/>
            </a:xfrm>
            <a:custGeom>
              <a:avLst/>
              <a:gdLst>
                <a:gd name="T0" fmla="*/ 91 w 122"/>
                <a:gd name="T1" fmla="*/ 129 h 152"/>
                <a:gd name="T2" fmla="*/ 61 w 122"/>
                <a:gd name="T3" fmla="*/ 152 h 152"/>
                <a:gd name="T4" fmla="*/ 0 w 122"/>
                <a:gd name="T5" fmla="*/ 106 h 152"/>
                <a:gd name="T6" fmla="*/ 0 w 122"/>
                <a:gd name="T7" fmla="*/ 46 h 152"/>
                <a:gd name="T8" fmla="*/ 61 w 122"/>
                <a:gd name="T9" fmla="*/ 0 h 152"/>
                <a:gd name="T10" fmla="*/ 122 w 122"/>
                <a:gd name="T11" fmla="*/ 46 h 152"/>
                <a:gd name="T12" fmla="*/ 122 w 122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52">
                  <a:moveTo>
                    <a:pt x="91" y="129"/>
                  </a:moveTo>
                  <a:lnTo>
                    <a:pt x="61" y="152"/>
                  </a:lnTo>
                  <a:lnTo>
                    <a:pt x="0" y="106"/>
                  </a:lnTo>
                  <a:lnTo>
                    <a:pt x="0" y="46"/>
                  </a:lnTo>
                  <a:lnTo>
                    <a:pt x="61" y="0"/>
                  </a:lnTo>
                  <a:lnTo>
                    <a:pt x="122" y="46"/>
                  </a:lnTo>
                  <a:lnTo>
                    <a:pt x="122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3" name="Freeform 185">
              <a:extLst>
                <a:ext uri="{FF2B5EF4-FFF2-40B4-BE49-F238E27FC236}">
                  <a16:creationId xmlns:a16="http://schemas.microsoft.com/office/drawing/2014/main" id="{F70C24FC-B5AA-470F-84C3-46E1B2D51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73475"/>
              <a:ext cx="193675" cy="71438"/>
            </a:xfrm>
            <a:custGeom>
              <a:avLst/>
              <a:gdLst>
                <a:gd name="T0" fmla="*/ 0 w 122"/>
                <a:gd name="T1" fmla="*/ 0 h 45"/>
                <a:gd name="T2" fmla="*/ 61 w 122"/>
                <a:gd name="T3" fmla="*/ 45 h 45"/>
                <a:gd name="T4" fmla="*/ 122 w 122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45">
                  <a:moveTo>
                    <a:pt x="0" y="0"/>
                  </a:moveTo>
                  <a:lnTo>
                    <a:pt x="61" y="45"/>
                  </a:lnTo>
                  <a:lnTo>
                    <a:pt x="122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4" name="Line 186">
              <a:extLst>
                <a:ext uri="{FF2B5EF4-FFF2-40B4-BE49-F238E27FC236}">
                  <a16:creationId xmlns:a16="http://schemas.microsoft.com/office/drawing/2014/main" id="{148949D2-7142-497D-8C19-9E458C676F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81900" y="3600450"/>
              <a:ext cx="65088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5" name="Freeform 187">
              <a:extLst>
                <a:ext uri="{FF2B5EF4-FFF2-40B4-BE49-F238E27FC236}">
                  <a16:creationId xmlns:a16="http://schemas.microsoft.com/office/drawing/2014/main" id="{35588B70-5AD1-4CD7-8EE7-255B6A558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6988" y="3649663"/>
              <a:ext cx="96838" cy="34925"/>
            </a:xfrm>
            <a:custGeom>
              <a:avLst/>
              <a:gdLst>
                <a:gd name="T0" fmla="*/ 61 w 61"/>
                <a:gd name="T1" fmla="*/ 0 h 22"/>
                <a:gd name="T2" fmla="*/ 31 w 61"/>
                <a:gd name="T3" fmla="*/ 22 h 22"/>
                <a:gd name="T4" fmla="*/ 0 w 61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22">
                  <a:moveTo>
                    <a:pt x="61" y="0"/>
                  </a:moveTo>
                  <a:lnTo>
                    <a:pt x="31" y="22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6" name="Freeform 188">
              <a:extLst>
                <a:ext uri="{FF2B5EF4-FFF2-40B4-BE49-F238E27FC236}">
                  <a16:creationId xmlns:a16="http://schemas.microsoft.com/office/drawing/2014/main" id="{51576F07-2DD4-4B18-8A44-842B3D338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444875"/>
              <a:ext cx="192088" cy="144463"/>
            </a:xfrm>
            <a:custGeom>
              <a:avLst/>
              <a:gdLst>
                <a:gd name="T0" fmla="*/ 121 w 121"/>
                <a:gd name="T1" fmla="*/ 91 h 91"/>
                <a:gd name="T2" fmla="*/ 121 w 121"/>
                <a:gd name="T3" fmla="*/ 45 h 91"/>
                <a:gd name="T4" fmla="*/ 61 w 121"/>
                <a:gd name="T5" fmla="*/ 0 h 91"/>
                <a:gd name="T6" fmla="*/ 0 w 121"/>
                <a:gd name="T7" fmla="*/ 45 h 91"/>
                <a:gd name="T8" fmla="*/ 0 w 121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91">
                  <a:moveTo>
                    <a:pt x="121" y="91"/>
                  </a:moveTo>
                  <a:lnTo>
                    <a:pt x="121" y="45"/>
                  </a:lnTo>
                  <a:lnTo>
                    <a:pt x="61" y="0"/>
                  </a:lnTo>
                  <a:lnTo>
                    <a:pt x="0" y="45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7" name="Line 189">
              <a:extLst>
                <a:ext uri="{FF2B5EF4-FFF2-40B4-BE49-F238E27FC236}">
                  <a16:creationId xmlns:a16="http://schemas.microsoft.com/office/drawing/2014/main" id="{8313A478-9D04-4806-A2C4-7AE49C467A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96200" y="3516313"/>
              <a:ext cx="95250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8" name="Line 190">
              <a:extLst>
                <a:ext uri="{FF2B5EF4-FFF2-40B4-BE49-F238E27FC236}">
                  <a16:creationId xmlns:a16="http://schemas.microsoft.com/office/drawing/2014/main" id="{6E9C30FB-D0BB-426E-A7A7-835BCDF222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61288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9" name="Freeform 191">
              <a:extLst>
                <a:ext uri="{FF2B5EF4-FFF2-40B4-BE49-F238E27FC236}">
                  <a16:creationId xmlns:a16="http://schemas.microsoft.com/office/drawing/2014/main" id="{1BA025E1-28FA-448D-8E49-3B55A3FBD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00450"/>
              <a:ext cx="192088" cy="241300"/>
            </a:xfrm>
            <a:custGeom>
              <a:avLst/>
              <a:gdLst>
                <a:gd name="T0" fmla="*/ 30 w 121"/>
                <a:gd name="T1" fmla="*/ 129 h 152"/>
                <a:gd name="T2" fmla="*/ 60 w 121"/>
                <a:gd name="T3" fmla="*/ 152 h 152"/>
                <a:gd name="T4" fmla="*/ 121 w 121"/>
                <a:gd name="T5" fmla="*/ 106 h 152"/>
                <a:gd name="T6" fmla="*/ 121 w 121"/>
                <a:gd name="T7" fmla="*/ 46 h 152"/>
                <a:gd name="T8" fmla="*/ 60 w 121"/>
                <a:gd name="T9" fmla="*/ 0 h 152"/>
                <a:gd name="T10" fmla="*/ 0 w 121"/>
                <a:gd name="T11" fmla="*/ 46 h 152"/>
                <a:gd name="T12" fmla="*/ 0 w 121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2">
                  <a:moveTo>
                    <a:pt x="30" y="129"/>
                  </a:moveTo>
                  <a:lnTo>
                    <a:pt x="60" y="152"/>
                  </a:lnTo>
                  <a:lnTo>
                    <a:pt x="121" y="106"/>
                  </a:lnTo>
                  <a:lnTo>
                    <a:pt x="121" y="46"/>
                  </a:lnTo>
                  <a:lnTo>
                    <a:pt x="60" y="0"/>
                  </a:lnTo>
                  <a:lnTo>
                    <a:pt x="0" y="46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0" name="Freeform 192">
              <a:extLst>
                <a:ext uri="{FF2B5EF4-FFF2-40B4-BE49-F238E27FC236}">
                  <a16:creationId xmlns:a16="http://schemas.microsoft.com/office/drawing/2014/main" id="{A751994D-B1AB-4B10-870D-F0E1CCCD7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73475"/>
              <a:ext cx="192088" cy="71438"/>
            </a:xfrm>
            <a:custGeom>
              <a:avLst/>
              <a:gdLst>
                <a:gd name="T0" fmla="*/ 121 w 121"/>
                <a:gd name="T1" fmla="*/ 0 h 45"/>
                <a:gd name="T2" fmla="*/ 60 w 121"/>
                <a:gd name="T3" fmla="*/ 45 h 45"/>
                <a:gd name="T4" fmla="*/ 0 w 121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5">
                  <a:moveTo>
                    <a:pt x="121" y="0"/>
                  </a:moveTo>
                  <a:lnTo>
                    <a:pt x="60" y="45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1" name="Line 193">
              <a:extLst>
                <a:ext uri="{FF2B5EF4-FFF2-40B4-BE49-F238E27FC236}">
                  <a16:creationId xmlns:a16="http://schemas.microsoft.com/office/drawing/2014/main" id="{84CE7030-C038-4E5B-A25B-A2E65A51C5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743825" y="3600450"/>
              <a:ext cx="66675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2" name="Line 195">
              <a:extLst>
                <a:ext uri="{FF2B5EF4-FFF2-40B4-BE49-F238E27FC236}">
                  <a16:creationId xmlns:a16="http://schemas.microsoft.com/office/drawing/2014/main" id="{DF6BF048-8D44-4CFB-AC14-1258ACD084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5225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3" name="Line 196">
              <a:extLst>
                <a:ext uri="{FF2B5EF4-FFF2-40B4-BE49-F238E27FC236}">
                  <a16:creationId xmlns:a16="http://schemas.microsoft.com/office/drawing/2014/main" id="{749AEEE3-CA81-470F-9347-1B47827628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96200" y="3902075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4" name="Line 197">
              <a:extLst>
                <a:ext uri="{FF2B5EF4-FFF2-40B4-BE49-F238E27FC236}">
                  <a16:creationId xmlns:a16="http://schemas.microsoft.com/office/drawing/2014/main" id="{C86DA796-F045-47E6-8CD6-6110208876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5588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B8C8527E-205B-4737-9E86-BC40197AB03C}"/>
              </a:ext>
            </a:extLst>
          </p:cNvPr>
          <p:cNvSpPr txBox="1"/>
          <p:nvPr/>
        </p:nvSpPr>
        <p:spPr>
          <a:xfrm>
            <a:off x="733418" y="2581879"/>
            <a:ext cx="61033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0" i="0" dirty="0">
                <a:solidFill>
                  <a:srgbClr val="1CD0F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Future of Decentralized Betting is Here</a:t>
            </a:r>
            <a:endParaRPr lang="en-US" sz="1600" dirty="0">
              <a:solidFill>
                <a:srgbClr val="1CD0F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532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D39502-BD75-4857-888B-B119F627A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B7459-A9BE-4170-99AC-3DBF94476C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dirty="0" smtClean="0"/>
              <a:pPr/>
              <a:t>10</a:t>
            </a:fld>
            <a:endParaRPr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D2BD91D5-89B5-44ED-94D1-7D6E44003D59}"/>
              </a:ext>
            </a:extLst>
          </p:cNvPr>
          <p:cNvSpPr/>
          <p:nvPr/>
        </p:nvSpPr>
        <p:spPr>
          <a:xfrm>
            <a:off x="0" y="3081337"/>
            <a:ext cx="6638925" cy="695325"/>
          </a:xfrm>
          <a:prstGeom prst="homePlate">
            <a:avLst/>
          </a:prstGeom>
          <a:solidFill>
            <a:srgbClr val="1CD0F4"/>
          </a:solidFill>
          <a:ln w="9525">
            <a:solidFill>
              <a:srgbClr val="1CD0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 Faced</a:t>
            </a:r>
          </a:p>
        </p:txBody>
      </p:sp>
    </p:spTree>
    <p:extLst>
      <p:ext uri="{BB962C8B-B14F-4D97-AF65-F5344CB8AC3E}">
        <p14:creationId xmlns:p14="http://schemas.microsoft.com/office/powerpoint/2010/main" val="19527019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A36D09-E39D-4B9E-BAF1-4C0EE15FD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1BC30E3-FFE5-4B91-AA19-87A149EBB9EE}" type="slidenum">
              <a:rPr lang="en-IN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1</a:t>
            </a:fld>
            <a:endParaRPr lang="en-IN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71F0D74-3CB8-49F8-8BFD-0083E5DE3327}"/>
              </a:ext>
            </a:extLst>
          </p:cNvPr>
          <p:cNvSpPr/>
          <p:nvPr/>
        </p:nvSpPr>
        <p:spPr>
          <a:xfrm>
            <a:off x="520207" y="1518952"/>
            <a:ext cx="4913274" cy="119263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GB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rse betting odds are difficult to scrape 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GB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ing ERC20 to mint tokens caused overflow errors and would not compile 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GB" sz="14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Mask</a:t>
            </a:r>
            <a:r>
              <a:rPr lang="en-GB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gration 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endParaRPr lang="en-US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5D214B-570E-4E81-BB7A-3435154B6CD8}"/>
              </a:ext>
            </a:extLst>
          </p:cNvPr>
          <p:cNvSpPr/>
          <p:nvPr/>
        </p:nvSpPr>
        <p:spPr>
          <a:xfrm>
            <a:off x="381215" y="1304672"/>
            <a:ext cx="5052267" cy="249009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056175-896F-44C2-A0D2-AE42114C5891}"/>
              </a:ext>
            </a:extLst>
          </p:cNvPr>
          <p:cNvSpPr txBox="1"/>
          <p:nvPr/>
        </p:nvSpPr>
        <p:spPr>
          <a:xfrm>
            <a:off x="622994" y="1120392"/>
            <a:ext cx="1282005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316F0E-10A4-45B6-A6AC-942D02F9F90E}"/>
              </a:ext>
            </a:extLst>
          </p:cNvPr>
          <p:cNvSpPr/>
          <p:nvPr/>
        </p:nvSpPr>
        <p:spPr>
          <a:xfrm>
            <a:off x="381213" y="4009043"/>
            <a:ext cx="5052266" cy="2216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092F21-2103-4B95-9D9F-BBCF3080380E}"/>
              </a:ext>
            </a:extLst>
          </p:cNvPr>
          <p:cNvSpPr txBox="1"/>
          <p:nvPr/>
        </p:nvSpPr>
        <p:spPr>
          <a:xfrm>
            <a:off x="617221" y="3827808"/>
            <a:ext cx="2428820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0A88D1-B90C-445D-8CD0-395C54432AA0}"/>
              </a:ext>
            </a:extLst>
          </p:cNvPr>
          <p:cNvSpPr/>
          <p:nvPr/>
        </p:nvSpPr>
        <p:spPr>
          <a:xfrm>
            <a:off x="520207" y="4278286"/>
            <a:ext cx="4913274" cy="72327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0C1C7A4-EC99-4772-8E5B-F093BFA8FB2C}"/>
              </a:ext>
            </a:extLst>
          </p:cNvPr>
          <p:cNvSpPr/>
          <p:nvPr/>
        </p:nvSpPr>
        <p:spPr>
          <a:xfrm>
            <a:off x="5572474" y="1303082"/>
            <a:ext cx="6427064" cy="492221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AB9474-5B2A-4759-A3DE-D28CB30F6FEB}"/>
              </a:ext>
            </a:extLst>
          </p:cNvPr>
          <p:cNvSpPr txBox="1"/>
          <p:nvPr/>
        </p:nvSpPr>
        <p:spPr>
          <a:xfrm>
            <a:off x="5746246" y="1117353"/>
            <a:ext cx="1470719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eak-pea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68AE03-13E2-4282-95D1-E2F270FF8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lockWag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78A7B2C-099C-45F1-8CD9-DD19E94CC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rgbClr val="1CD0F4"/>
                </a:solidFill>
                <a:latin typeface="Arial" panose="020B0604020202020204" pitchFamily="34" charset="0"/>
              </a:rPr>
              <a:t>BlockWager </a:t>
            </a:r>
            <a:r>
              <a:rPr lang="en-IN" dirty="0">
                <a:latin typeface="Arial" panose="020B0604020202020204" pitchFamily="34" charset="0"/>
              </a:rPr>
              <a:t>– Challenges Faced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CA76C9-0558-4127-A494-80E7607E51F3}"/>
              </a:ext>
            </a:extLst>
          </p:cNvPr>
          <p:cNvSpPr/>
          <p:nvPr/>
        </p:nvSpPr>
        <p:spPr>
          <a:xfrm>
            <a:off x="6481605" y="3210190"/>
            <a:ext cx="491327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12572">
              <a:spcAft>
                <a:spcPts val="300"/>
              </a:spcAft>
              <a:buClr>
                <a:srgbClr val="1CD0F4"/>
              </a:buClr>
              <a:defRPr/>
            </a:pPr>
            <a:r>
              <a:rPr lang="en-US" sz="3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Screenshots/Visuals]</a:t>
            </a:r>
          </a:p>
        </p:txBody>
      </p:sp>
    </p:spTree>
    <p:extLst>
      <p:ext uri="{BB962C8B-B14F-4D97-AF65-F5344CB8AC3E}">
        <p14:creationId xmlns:p14="http://schemas.microsoft.com/office/powerpoint/2010/main" val="3222842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D39502-BD75-4857-888B-B119F627A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B7459-A9BE-4170-99AC-3DBF94476C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dirty="0" smtClean="0"/>
              <a:pPr/>
              <a:t>12</a:t>
            </a:fld>
            <a:endParaRPr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D2BD91D5-89B5-44ED-94D1-7D6E44003D59}"/>
              </a:ext>
            </a:extLst>
          </p:cNvPr>
          <p:cNvSpPr/>
          <p:nvPr/>
        </p:nvSpPr>
        <p:spPr>
          <a:xfrm>
            <a:off x="0" y="3081337"/>
            <a:ext cx="6638925" cy="695325"/>
          </a:xfrm>
          <a:prstGeom prst="homePlate">
            <a:avLst/>
          </a:prstGeom>
          <a:solidFill>
            <a:srgbClr val="1CD0F4"/>
          </a:solidFill>
          <a:ln w="9525">
            <a:solidFill>
              <a:srgbClr val="1CD0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Developments and Next Steps</a:t>
            </a:r>
          </a:p>
        </p:txBody>
      </p:sp>
    </p:spTree>
    <p:extLst>
      <p:ext uri="{BB962C8B-B14F-4D97-AF65-F5344CB8AC3E}">
        <p14:creationId xmlns:p14="http://schemas.microsoft.com/office/powerpoint/2010/main" val="13998127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6A472A-2D4C-4EEE-A8F3-6055B82ED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rgbClr val="1CD0F4"/>
                </a:solidFill>
                <a:latin typeface="Arial" panose="020B0604020202020204" pitchFamily="34" charset="0"/>
              </a:rPr>
              <a:t>BlockWager </a:t>
            </a:r>
            <a:r>
              <a:rPr lang="en-IN" dirty="0">
                <a:latin typeface="Arial" panose="020B0604020202020204" pitchFamily="34" charset="0"/>
              </a:rPr>
              <a:t>– Future Developments and Next Steps</a:t>
            </a:r>
            <a:endParaRPr lang="en-US" dirty="0">
              <a:latin typeface="EYInterstate Light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62ABE-8AC4-4C46-85FB-FD51A3D49D78}"/>
              </a:ext>
            </a:extLst>
          </p:cNvPr>
          <p:cNvSpPr/>
          <p:nvPr/>
        </p:nvSpPr>
        <p:spPr>
          <a:xfrm>
            <a:off x="6716248" y="1683698"/>
            <a:ext cx="4872185" cy="3296699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0CF24E-7C1F-42D5-BE95-6F7412B99FA6}"/>
              </a:ext>
            </a:extLst>
          </p:cNvPr>
          <p:cNvSpPr/>
          <p:nvPr/>
        </p:nvSpPr>
        <p:spPr>
          <a:xfrm>
            <a:off x="6931041" y="1553694"/>
            <a:ext cx="1384985" cy="24436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ext Step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AAEEB-6E5F-4A38-A096-C576120D938A}"/>
              </a:ext>
            </a:extLst>
          </p:cNvPr>
          <p:cNvSpPr/>
          <p:nvPr/>
        </p:nvSpPr>
        <p:spPr>
          <a:xfrm>
            <a:off x="609918" y="1683699"/>
            <a:ext cx="5897414" cy="4199865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A759D2D-6F3C-4B61-BE6B-DAFE84C44DEE}"/>
              </a:ext>
            </a:extLst>
          </p:cNvPr>
          <p:cNvSpPr/>
          <p:nvPr/>
        </p:nvSpPr>
        <p:spPr>
          <a:xfrm>
            <a:off x="824710" y="1553694"/>
            <a:ext cx="2726357" cy="24436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neak Peak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E1D45C7-669C-4B6C-B3A0-FEA5758F256D}"/>
              </a:ext>
            </a:extLst>
          </p:cNvPr>
          <p:cNvSpPr txBox="1">
            <a:spLocks/>
          </p:cNvSpPr>
          <p:nvPr/>
        </p:nvSpPr>
        <p:spPr>
          <a:xfrm>
            <a:off x="6847263" y="1928058"/>
            <a:ext cx="4610153" cy="305234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GB" sz="1400" dirty="0">
                <a:latin typeface="+mn-lt"/>
              </a:rPr>
              <a:t>Fully decentralized betting </a:t>
            </a:r>
          </a:p>
          <a:p>
            <a:pPr>
              <a:buClr>
                <a:srgbClr val="1CD0F4"/>
              </a:buClr>
              <a:buSzPct val="75000"/>
            </a:pPr>
            <a:endParaRPr lang="en-GB" sz="1400" dirty="0">
              <a:latin typeface="+mn-lt"/>
            </a:endParaRPr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GB" sz="1400" dirty="0"/>
              <a:t>Access to all major US sports leagues </a:t>
            </a:r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endParaRPr lang="en-GB" sz="1400" dirty="0"/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GB" sz="1400" dirty="0"/>
              <a:t>Machine learning betting suggestions and sentiment tracking</a:t>
            </a:r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endParaRPr lang="en-GB" sz="1400" dirty="0"/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GB" sz="1400" dirty="0"/>
              <a:t> Analytics and statistics</a:t>
            </a:r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endParaRPr lang="en-GB" sz="1400" dirty="0"/>
          </a:p>
          <a:p>
            <a:pPr marL="126000" indent="-126000">
              <a:buClr>
                <a:srgbClr val="1CD0F4"/>
              </a:buClr>
              <a:buSzPct val="75000"/>
              <a:buFont typeface="Wingdings 3" panose="05040102010807070707" pitchFamily="18" charset="2"/>
              <a:buChar char=""/>
            </a:pPr>
            <a:r>
              <a:rPr lang="en-GB" sz="1400" dirty="0"/>
              <a:t> Cloud deploymen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4384CE-F848-4434-AF6B-26D910CEF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B175C6-0232-4678-ABC7-56B72AD61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3</a:t>
            </a:fld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747A4E-8066-46FD-BC22-03006FF70FE5}"/>
              </a:ext>
            </a:extLst>
          </p:cNvPr>
          <p:cNvSpPr/>
          <p:nvPr/>
        </p:nvSpPr>
        <p:spPr>
          <a:xfrm>
            <a:off x="1253823" y="3332047"/>
            <a:ext cx="491327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12572">
              <a:spcAft>
                <a:spcPts val="300"/>
              </a:spcAft>
              <a:buClr>
                <a:srgbClr val="1CD0F4"/>
              </a:buClr>
              <a:defRPr/>
            </a:pPr>
            <a:r>
              <a:rPr lang="en-US" sz="3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Screenshots/Visuals]</a:t>
            </a:r>
          </a:p>
        </p:txBody>
      </p:sp>
    </p:spTree>
    <p:extLst>
      <p:ext uri="{BB962C8B-B14F-4D97-AF65-F5344CB8AC3E}">
        <p14:creationId xmlns:p14="http://schemas.microsoft.com/office/powerpoint/2010/main" val="25914569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3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B80661A-F9D4-D5C7-784F-598F06B54B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4" y="1998149"/>
            <a:ext cx="4008379" cy="979702"/>
          </a:xfrm>
        </p:spPr>
        <p:txBody>
          <a:bodyPr>
            <a:normAutofit/>
          </a:bodyPr>
          <a:lstStyle/>
          <a:p>
            <a:r>
              <a:rPr lang="en-IN" dirty="0">
                <a:solidFill>
                  <a:srgbClr val="1CD0F4"/>
                </a:solidFill>
                <a:latin typeface="Arial" panose="020B0604020202020204" pitchFamily="34" charset="0"/>
              </a:rPr>
              <a:t>BlockWager</a:t>
            </a:r>
            <a:endParaRPr lang="en-GB" dirty="0">
              <a:solidFill>
                <a:srgbClr val="1CD0F4"/>
              </a:solidFill>
              <a:latin typeface="Arial" panose="020B0604020202020204" pitchFamily="34" charset="0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39F5A7A-521A-76D8-377C-B13428C2FA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504" y="3006657"/>
            <a:ext cx="4328932" cy="1566211"/>
          </a:xfrm>
          <a:noFill/>
        </p:spPr>
        <p:txBody>
          <a:bodyPr>
            <a:norm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1800" dirty="0">
                <a:solidFill>
                  <a:srgbClr val="1CD0F4"/>
                </a:solidFill>
                <a:latin typeface="Arial" panose="020B0604020202020204" pitchFamily="34" charset="0"/>
              </a:rPr>
              <a:t>Feeling lucky?</a:t>
            </a:r>
          </a:p>
          <a:p>
            <a:pPr>
              <a:lnSpc>
                <a:spcPct val="80000"/>
              </a:lnSpc>
              <a:spcBef>
                <a:spcPct val="0"/>
              </a:spcBef>
              <a:spcAft>
                <a:spcPts val="600"/>
              </a:spcAft>
            </a:pPr>
            <a:endParaRPr lang="en-GB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A5F34D-7B56-46CC-A805-B72B59C950AD}"/>
              </a:ext>
            </a:extLst>
          </p:cNvPr>
          <p:cNvSpPr/>
          <p:nvPr/>
        </p:nvSpPr>
        <p:spPr>
          <a:xfrm>
            <a:off x="10400146" y="6604000"/>
            <a:ext cx="1798202" cy="254000"/>
          </a:xfrm>
          <a:prstGeom prst="rect">
            <a:avLst/>
          </a:prstGeom>
          <a:solidFill>
            <a:srgbClr val="000000">
              <a:alpha val="67843"/>
            </a:srgbClr>
          </a:solidFill>
          <a:ln w="9525"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2D8656-FE69-483E-81A4-A0DF61FA4A13}"/>
              </a:ext>
            </a:extLst>
          </p:cNvPr>
          <p:cNvSpPr txBox="1"/>
          <p:nvPr/>
        </p:nvSpPr>
        <p:spPr>
          <a:xfrm>
            <a:off x="10012218" y="6607889"/>
            <a:ext cx="20874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age source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xels.com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7ACA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05746C3-981C-400D-AA56-76936AAFFB92}"/>
              </a:ext>
            </a:extLst>
          </p:cNvPr>
          <p:cNvGrpSpPr>
            <a:grpSpLocks noChangeAspect="1"/>
          </p:cNvGrpSpPr>
          <p:nvPr/>
        </p:nvGrpSpPr>
        <p:grpSpPr>
          <a:xfrm>
            <a:off x="2939970" y="1787835"/>
            <a:ext cx="702177" cy="700165"/>
            <a:chOff x="7418388" y="3444875"/>
            <a:chExt cx="554038" cy="552451"/>
          </a:xfrm>
        </p:grpSpPr>
        <p:sp>
          <p:nvSpPr>
            <p:cNvPr id="37" name="Line 194">
              <a:extLst>
                <a:ext uri="{FF2B5EF4-FFF2-40B4-BE49-F238E27FC236}">
                  <a16:creationId xmlns:a16="http://schemas.microsoft.com/office/drawing/2014/main" id="{81ECF50E-AE53-4EE2-BD4E-D8CB37D0AA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96200" y="3589338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8" name="Line 180">
              <a:extLst>
                <a:ext uri="{FF2B5EF4-FFF2-40B4-BE49-F238E27FC236}">
                  <a16:creationId xmlns:a16="http://schemas.microsoft.com/office/drawing/2014/main" id="{B3507A2F-3A55-4A99-819B-874215B0F3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99363" y="3516313"/>
              <a:ext cx="96838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9" name="Freeform 181">
              <a:extLst>
                <a:ext uri="{FF2B5EF4-FFF2-40B4-BE49-F238E27FC236}">
                  <a16:creationId xmlns:a16="http://schemas.microsoft.com/office/drawing/2014/main" id="{742CAA1A-AEDC-4775-86DB-9A7D5F762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757613"/>
              <a:ext cx="192088" cy="239713"/>
            </a:xfrm>
            <a:custGeom>
              <a:avLst/>
              <a:gdLst>
                <a:gd name="T0" fmla="*/ 0 w 121"/>
                <a:gd name="T1" fmla="*/ 45 h 151"/>
                <a:gd name="T2" fmla="*/ 61 w 121"/>
                <a:gd name="T3" fmla="*/ 0 h 151"/>
                <a:gd name="T4" fmla="*/ 121 w 121"/>
                <a:gd name="T5" fmla="*/ 45 h 151"/>
                <a:gd name="T6" fmla="*/ 121 w 121"/>
                <a:gd name="T7" fmla="*/ 106 h 151"/>
                <a:gd name="T8" fmla="*/ 61 w 121"/>
                <a:gd name="T9" fmla="*/ 151 h 151"/>
                <a:gd name="T10" fmla="*/ 0 w 121"/>
                <a:gd name="T11" fmla="*/ 106 h 151"/>
                <a:gd name="T12" fmla="*/ 0 w 121"/>
                <a:gd name="T13" fmla="*/ 4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1">
                  <a:moveTo>
                    <a:pt x="0" y="45"/>
                  </a:moveTo>
                  <a:lnTo>
                    <a:pt x="61" y="0"/>
                  </a:lnTo>
                  <a:lnTo>
                    <a:pt x="121" y="45"/>
                  </a:lnTo>
                  <a:lnTo>
                    <a:pt x="121" y="106"/>
                  </a:lnTo>
                  <a:lnTo>
                    <a:pt x="61" y="151"/>
                  </a:lnTo>
                  <a:lnTo>
                    <a:pt x="0" y="106"/>
                  </a:lnTo>
                  <a:lnTo>
                    <a:pt x="0" y="45"/>
                  </a:lnTo>
                  <a:close/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0" name="Line 182">
              <a:extLst>
                <a:ext uri="{FF2B5EF4-FFF2-40B4-BE49-F238E27FC236}">
                  <a16:creationId xmlns:a16="http://schemas.microsoft.com/office/drawing/2014/main" id="{1E2DF9D4-0B33-466F-91CE-A0D4FBEFC1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62850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1" name="Freeform 183">
              <a:extLst>
                <a:ext uri="{FF2B5EF4-FFF2-40B4-BE49-F238E27FC236}">
                  <a16:creationId xmlns:a16="http://schemas.microsoft.com/office/drawing/2014/main" id="{DE24FB8D-E022-49E9-A789-879578273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829050"/>
              <a:ext cx="192088" cy="73025"/>
            </a:xfrm>
            <a:custGeom>
              <a:avLst/>
              <a:gdLst>
                <a:gd name="T0" fmla="*/ 0 w 121"/>
                <a:gd name="T1" fmla="*/ 0 h 46"/>
                <a:gd name="T2" fmla="*/ 61 w 121"/>
                <a:gd name="T3" fmla="*/ 46 h 46"/>
                <a:gd name="T4" fmla="*/ 121 w 121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6">
                  <a:moveTo>
                    <a:pt x="0" y="0"/>
                  </a:moveTo>
                  <a:lnTo>
                    <a:pt x="61" y="46"/>
                  </a:lnTo>
                  <a:lnTo>
                    <a:pt x="121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2" name="Freeform 184">
              <a:extLst>
                <a:ext uri="{FF2B5EF4-FFF2-40B4-BE49-F238E27FC236}">
                  <a16:creationId xmlns:a16="http://schemas.microsoft.com/office/drawing/2014/main" id="{1E168E82-2F94-4379-BE40-12D9B690E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00450"/>
              <a:ext cx="193675" cy="241300"/>
            </a:xfrm>
            <a:custGeom>
              <a:avLst/>
              <a:gdLst>
                <a:gd name="T0" fmla="*/ 91 w 122"/>
                <a:gd name="T1" fmla="*/ 129 h 152"/>
                <a:gd name="T2" fmla="*/ 61 w 122"/>
                <a:gd name="T3" fmla="*/ 152 h 152"/>
                <a:gd name="T4" fmla="*/ 0 w 122"/>
                <a:gd name="T5" fmla="*/ 106 h 152"/>
                <a:gd name="T6" fmla="*/ 0 w 122"/>
                <a:gd name="T7" fmla="*/ 46 h 152"/>
                <a:gd name="T8" fmla="*/ 61 w 122"/>
                <a:gd name="T9" fmla="*/ 0 h 152"/>
                <a:gd name="T10" fmla="*/ 122 w 122"/>
                <a:gd name="T11" fmla="*/ 46 h 152"/>
                <a:gd name="T12" fmla="*/ 122 w 122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52">
                  <a:moveTo>
                    <a:pt x="91" y="129"/>
                  </a:moveTo>
                  <a:lnTo>
                    <a:pt x="61" y="152"/>
                  </a:lnTo>
                  <a:lnTo>
                    <a:pt x="0" y="106"/>
                  </a:lnTo>
                  <a:lnTo>
                    <a:pt x="0" y="46"/>
                  </a:lnTo>
                  <a:lnTo>
                    <a:pt x="61" y="0"/>
                  </a:lnTo>
                  <a:lnTo>
                    <a:pt x="122" y="46"/>
                  </a:lnTo>
                  <a:lnTo>
                    <a:pt x="122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3" name="Freeform 185">
              <a:extLst>
                <a:ext uri="{FF2B5EF4-FFF2-40B4-BE49-F238E27FC236}">
                  <a16:creationId xmlns:a16="http://schemas.microsoft.com/office/drawing/2014/main" id="{F70C24FC-B5AA-470F-84C3-46E1B2D51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73475"/>
              <a:ext cx="193675" cy="71438"/>
            </a:xfrm>
            <a:custGeom>
              <a:avLst/>
              <a:gdLst>
                <a:gd name="T0" fmla="*/ 0 w 122"/>
                <a:gd name="T1" fmla="*/ 0 h 45"/>
                <a:gd name="T2" fmla="*/ 61 w 122"/>
                <a:gd name="T3" fmla="*/ 45 h 45"/>
                <a:gd name="T4" fmla="*/ 122 w 122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45">
                  <a:moveTo>
                    <a:pt x="0" y="0"/>
                  </a:moveTo>
                  <a:lnTo>
                    <a:pt x="61" y="45"/>
                  </a:lnTo>
                  <a:lnTo>
                    <a:pt x="122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4" name="Line 186">
              <a:extLst>
                <a:ext uri="{FF2B5EF4-FFF2-40B4-BE49-F238E27FC236}">
                  <a16:creationId xmlns:a16="http://schemas.microsoft.com/office/drawing/2014/main" id="{148949D2-7142-497D-8C19-9E458C676F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81900" y="3600450"/>
              <a:ext cx="65088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5" name="Freeform 187">
              <a:extLst>
                <a:ext uri="{FF2B5EF4-FFF2-40B4-BE49-F238E27FC236}">
                  <a16:creationId xmlns:a16="http://schemas.microsoft.com/office/drawing/2014/main" id="{35588B70-5AD1-4CD7-8EE7-255B6A558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6988" y="3649663"/>
              <a:ext cx="96838" cy="34925"/>
            </a:xfrm>
            <a:custGeom>
              <a:avLst/>
              <a:gdLst>
                <a:gd name="T0" fmla="*/ 61 w 61"/>
                <a:gd name="T1" fmla="*/ 0 h 22"/>
                <a:gd name="T2" fmla="*/ 31 w 61"/>
                <a:gd name="T3" fmla="*/ 22 h 22"/>
                <a:gd name="T4" fmla="*/ 0 w 61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22">
                  <a:moveTo>
                    <a:pt x="61" y="0"/>
                  </a:moveTo>
                  <a:lnTo>
                    <a:pt x="31" y="22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6" name="Freeform 188">
              <a:extLst>
                <a:ext uri="{FF2B5EF4-FFF2-40B4-BE49-F238E27FC236}">
                  <a16:creationId xmlns:a16="http://schemas.microsoft.com/office/drawing/2014/main" id="{51576F07-2DD4-4B18-8A44-842B3D338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444875"/>
              <a:ext cx="192088" cy="144463"/>
            </a:xfrm>
            <a:custGeom>
              <a:avLst/>
              <a:gdLst>
                <a:gd name="T0" fmla="*/ 121 w 121"/>
                <a:gd name="T1" fmla="*/ 91 h 91"/>
                <a:gd name="T2" fmla="*/ 121 w 121"/>
                <a:gd name="T3" fmla="*/ 45 h 91"/>
                <a:gd name="T4" fmla="*/ 61 w 121"/>
                <a:gd name="T5" fmla="*/ 0 h 91"/>
                <a:gd name="T6" fmla="*/ 0 w 121"/>
                <a:gd name="T7" fmla="*/ 45 h 91"/>
                <a:gd name="T8" fmla="*/ 0 w 121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91">
                  <a:moveTo>
                    <a:pt x="121" y="91"/>
                  </a:moveTo>
                  <a:lnTo>
                    <a:pt x="121" y="45"/>
                  </a:lnTo>
                  <a:lnTo>
                    <a:pt x="61" y="0"/>
                  </a:lnTo>
                  <a:lnTo>
                    <a:pt x="0" y="45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7" name="Line 189">
              <a:extLst>
                <a:ext uri="{FF2B5EF4-FFF2-40B4-BE49-F238E27FC236}">
                  <a16:creationId xmlns:a16="http://schemas.microsoft.com/office/drawing/2014/main" id="{8313A478-9D04-4806-A2C4-7AE49C467A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96200" y="3516313"/>
              <a:ext cx="95250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8" name="Line 190">
              <a:extLst>
                <a:ext uri="{FF2B5EF4-FFF2-40B4-BE49-F238E27FC236}">
                  <a16:creationId xmlns:a16="http://schemas.microsoft.com/office/drawing/2014/main" id="{6E9C30FB-D0BB-426E-A7A7-835BCDF222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61288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9" name="Freeform 191">
              <a:extLst>
                <a:ext uri="{FF2B5EF4-FFF2-40B4-BE49-F238E27FC236}">
                  <a16:creationId xmlns:a16="http://schemas.microsoft.com/office/drawing/2014/main" id="{1BA025E1-28FA-448D-8E49-3B55A3FBD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00450"/>
              <a:ext cx="192088" cy="241300"/>
            </a:xfrm>
            <a:custGeom>
              <a:avLst/>
              <a:gdLst>
                <a:gd name="T0" fmla="*/ 30 w 121"/>
                <a:gd name="T1" fmla="*/ 129 h 152"/>
                <a:gd name="T2" fmla="*/ 60 w 121"/>
                <a:gd name="T3" fmla="*/ 152 h 152"/>
                <a:gd name="T4" fmla="*/ 121 w 121"/>
                <a:gd name="T5" fmla="*/ 106 h 152"/>
                <a:gd name="T6" fmla="*/ 121 w 121"/>
                <a:gd name="T7" fmla="*/ 46 h 152"/>
                <a:gd name="T8" fmla="*/ 60 w 121"/>
                <a:gd name="T9" fmla="*/ 0 h 152"/>
                <a:gd name="T10" fmla="*/ 0 w 121"/>
                <a:gd name="T11" fmla="*/ 46 h 152"/>
                <a:gd name="T12" fmla="*/ 0 w 121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2">
                  <a:moveTo>
                    <a:pt x="30" y="129"/>
                  </a:moveTo>
                  <a:lnTo>
                    <a:pt x="60" y="152"/>
                  </a:lnTo>
                  <a:lnTo>
                    <a:pt x="121" y="106"/>
                  </a:lnTo>
                  <a:lnTo>
                    <a:pt x="121" y="46"/>
                  </a:lnTo>
                  <a:lnTo>
                    <a:pt x="60" y="0"/>
                  </a:lnTo>
                  <a:lnTo>
                    <a:pt x="0" y="46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50" name="Freeform 192">
              <a:extLst>
                <a:ext uri="{FF2B5EF4-FFF2-40B4-BE49-F238E27FC236}">
                  <a16:creationId xmlns:a16="http://schemas.microsoft.com/office/drawing/2014/main" id="{A751994D-B1AB-4B10-870D-F0E1CCCD7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73475"/>
              <a:ext cx="192088" cy="71438"/>
            </a:xfrm>
            <a:custGeom>
              <a:avLst/>
              <a:gdLst>
                <a:gd name="T0" fmla="*/ 121 w 121"/>
                <a:gd name="T1" fmla="*/ 0 h 45"/>
                <a:gd name="T2" fmla="*/ 60 w 121"/>
                <a:gd name="T3" fmla="*/ 45 h 45"/>
                <a:gd name="T4" fmla="*/ 0 w 121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5">
                  <a:moveTo>
                    <a:pt x="121" y="0"/>
                  </a:moveTo>
                  <a:lnTo>
                    <a:pt x="60" y="45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51" name="Line 193">
              <a:extLst>
                <a:ext uri="{FF2B5EF4-FFF2-40B4-BE49-F238E27FC236}">
                  <a16:creationId xmlns:a16="http://schemas.microsoft.com/office/drawing/2014/main" id="{84CE7030-C038-4E5B-A25B-A2E65A51C5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743825" y="3600450"/>
              <a:ext cx="66675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52" name="Line 195">
              <a:extLst>
                <a:ext uri="{FF2B5EF4-FFF2-40B4-BE49-F238E27FC236}">
                  <a16:creationId xmlns:a16="http://schemas.microsoft.com/office/drawing/2014/main" id="{DF6BF048-8D44-4CFB-AC14-1258ACD084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5225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53" name="Line 196">
              <a:extLst>
                <a:ext uri="{FF2B5EF4-FFF2-40B4-BE49-F238E27FC236}">
                  <a16:creationId xmlns:a16="http://schemas.microsoft.com/office/drawing/2014/main" id="{749AEEE3-CA81-470F-9347-1B47827628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96200" y="3902075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54" name="Line 197">
              <a:extLst>
                <a:ext uri="{FF2B5EF4-FFF2-40B4-BE49-F238E27FC236}">
                  <a16:creationId xmlns:a16="http://schemas.microsoft.com/office/drawing/2014/main" id="{C86DA796-F045-47E6-8CD6-6110208876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5588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32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2440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8350" cy="685800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909246" y="9492"/>
            <a:ext cx="7291846" cy="6858000"/>
          </a:xfrm>
          <a:prstGeom prst="rect">
            <a:avLst/>
          </a:prstGeom>
          <a:solidFill>
            <a:srgbClr val="0D0D0D">
              <a:alpha val="8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000000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4547484" y="846103"/>
            <a:ext cx="725502" cy="725503"/>
          </a:xfrm>
          <a:prstGeom prst="ellipse">
            <a:avLst/>
          </a:prstGeom>
          <a:solidFill>
            <a:srgbClr val="1CD0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FFFFFF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4547484" y="1765892"/>
            <a:ext cx="725502" cy="725503"/>
          </a:xfrm>
          <a:prstGeom prst="ellipse">
            <a:avLst/>
          </a:prstGeom>
          <a:solidFill>
            <a:srgbClr val="1CD0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FFFFFF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4547484" y="2712989"/>
            <a:ext cx="725502" cy="725503"/>
          </a:xfrm>
          <a:prstGeom prst="ellipse">
            <a:avLst/>
          </a:prstGeom>
          <a:solidFill>
            <a:srgbClr val="1CD0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 dirty="0">
              <a:solidFill>
                <a:srgbClr val="FFFFFF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576137" y="4500517"/>
            <a:ext cx="725502" cy="725503"/>
          </a:xfrm>
          <a:prstGeom prst="ellipse">
            <a:avLst/>
          </a:prstGeom>
          <a:solidFill>
            <a:srgbClr val="1CD0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FFFFFF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6340259" y="925501"/>
            <a:ext cx="0" cy="566705"/>
          </a:xfrm>
          <a:prstGeom prst="line">
            <a:avLst/>
          </a:prstGeom>
          <a:ln w="28575">
            <a:solidFill>
              <a:srgbClr val="64646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6284502" y="1154881"/>
            <a:ext cx="107944" cy="107944"/>
          </a:xfrm>
          <a:prstGeom prst="ellipse">
            <a:avLst/>
          </a:prstGeom>
          <a:solidFill>
            <a:srgbClr val="0B9CD0"/>
          </a:solidFill>
          <a:ln w="9525">
            <a:solidFill>
              <a:srgbClr val="FF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404040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340259" y="1845290"/>
            <a:ext cx="0" cy="566705"/>
          </a:xfrm>
          <a:prstGeom prst="line">
            <a:avLst/>
          </a:prstGeom>
          <a:ln w="28575">
            <a:solidFill>
              <a:srgbClr val="64646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/>
          <p:cNvSpPr/>
          <p:nvPr/>
        </p:nvSpPr>
        <p:spPr>
          <a:xfrm>
            <a:off x="6284502" y="2074670"/>
            <a:ext cx="107944" cy="107944"/>
          </a:xfrm>
          <a:prstGeom prst="ellipse">
            <a:avLst/>
          </a:prstGeom>
          <a:solidFill>
            <a:srgbClr val="0B9CD0"/>
          </a:solidFill>
          <a:ln w="9525">
            <a:solidFill>
              <a:srgbClr val="FF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404040"/>
              </a:solidFill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6340259" y="2765079"/>
            <a:ext cx="0" cy="566705"/>
          </a:xfrm>
          <a:prstGeom prst="line">
            <a:avLst/>
          </a:prstGeom>
          <a:ln w="28575">
            <a:solidFill>
              <a:srgbClr val="64646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/>
          <p:cNvSpPr/>
          <p:nvPr/>
        </p:nvSpPr>
        <p:spPr>
          <a:xfrm>
            <a:off x="6284502" y="2994459"/>
            <a:ext cx="107944" cy="107944"/>
          </a:xfrm>
          <a:prstGeom prst="ellipse">
            <a:avLst/>
          </a:prstGeom>
          <a:solidFill>
            <a:srgbClr val="0B9CD0"/>
          </a:solidFill>
          <a:ln w="9525">
            <a:solidFill>
              <a:srgbClr val="FF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404040"/>
              </a:solidFill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6340259" y="3684868"/>
            <a:ext cx="0" cy="566705"/>
          </a:xfrm>
          <a:prstGeom prst="line">
            <a:avLst/>
          </a:prstGeom>
          <a:ln w="28575">
            <a:solidFill>
              <a:srgbClr val="64646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/>
          <p:cNvSpPr/>
          <p:nvPr/>
        </p:nvSpPr>
        <p:spPr>
          <a:xfrm>
            <a:off x="6284502" y="3914248"/>
            <a:ext cx="107944" cy="107944"/>
          </a:xfrm>
          <a:prstGeom prst="ellipse">
            <a:avLst/>
          </a:prstGeom>
          <a:solidFill>
            <a:srgbClr val="0B9CD0"/>
          </a:solidFill>
          <a:ln w="9525">
            <a:solidFill>
              <a:srgbClr val="FF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404040"/>
              </a:solidFill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6340259" y="4604657"/>
            <a:ext cx="0" cy="566705"/>
          </a:xfrm>
          <a:prstGeom prst="line">
            <a:avLst/>
          </a:prstGeom>
          <a:ln w="28575">
            <a:solidFill>
              <a:srgbClr val="64646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/>
          <p:cNvSpPr/>
          <p:nvPr/>
        </p:nvSpPr>
        <p:spPr>
          <a:xfrm>
            <a:off x="6284502" y="4834037"/>
            <a:ext cx="107944" cy="107944"/>
          </a:xfrm>
          <a:prstGeom prst="ellipse">
            <a:avLst/>
          </a:prstGeom>
          <a:solidFill>
            <a:srgbClr val="0B9CD0"/>
          </a:solidFill>
          <a:ln w="9525">
            <a:solidFill>
              <a:srgbClr val="FF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404040"/>
              </a:solidFill>
            </a:endParaRPr>
          </a:p>
        </p:txBody>
      </p:sp>
      <p:sp>
        <p:nvSpPr>
          <p:cNvPr id="37" name="Freeform 162">
            <a:extLst>
              <a:ext uri="{FF2B5EF4-FFF2-40B4-BE49-F238E27FC236}">
                <a16:creationId xmlns:a16="http://schemas.microsoft.com/office/drawing/2014/main" id="{407F52AB-8BE9-4F06-8B83-2A1A03CF4393}"/>
              </a:ext>
            </a:extLst>
          </p:cNvPr>
          <p:cNvSpPr>
            <a:spLocks noEditPoints="1"/>
          </p:cNvSpPr>
          <p:nvPr/>
        </p:nvSpPr>
        <p:spPr bwMode="auto">
          <a:xfrm>
            <a:off x="4705698" y="1015592"/>
            <a:ext cx="401609" cy="40041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8C8B3EB-3B12-44D2-8F61-6771BD8B0262}"/>
              </a:ext>
            </a:extLst>
          </p:cNvPr>
          <p:cNvSpPr/>
          <p:nvPr/>
        </p:nvSpPr>
        <p:spPr>
          <a:xfrm>
            <a:off x="4557644" y="3617229"/>
            <a:ext cx="725502" cy="725503"/>
          </a:xfrm>
          <a:prstGeom prst="ellipse">
            <a:avLst/>
          </a:prstGeom>
          <a:solidFill>
            <a:srgbClr val="1CD0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nb-NO" sz="899">
              <a:solidFill>
                <a:srgbClr val="FFFFFF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4A4D90-9310-4082-AF5D-C7883AE3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BlockWager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959C78D-1E48-4266-B218-12B252EFA1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2</a:t>
            </a:fld>
            <a:endParaRPr/>
          </a:p>
        </p:txBody>
      </p:sp>
      <p:graphicFrame>
        <p:nvGraphicFramePr>
          <p:cNvPr id="69" name="Agenda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7670036"/>
              </p:ext>
            </p:extLst>
          </p:nvPr>
        </p:nvGraphicFramePr>
        <p:xfrm>
          <a:off x="5408241" y="720900"/>
          <a:ext cx="6326120" cy="552835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73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30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21393">
                <a:tc>
                  <a:txBody>
                    <a:bodyPr/>
                    <a:lstStyle/>
                    <a:p>
                      <a:pPr algn="ctr"/>
                      <a:r>
                        <a:rPr lang="en-US" sz="27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D0F4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56971" lvl="1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3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 and Overview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D0F4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1393">
                <a:tc>
                  <a:txBody>
                    <a:bodyPr/>
                    <a:lstStyle/>
                    <a:p>
                      <a:pPr algn="ctr"/>
                      <a:r>
                        <a:rPr lang="en-US" sz="27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6971" lvl="1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3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ve Demo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1393">
                <a:tc>
                  <a:txBody>
                    <a:bodyPr/>
                    <a:lstStyle/>
                    <a:p>
                      <a:pPr algn="ctr"/>
                      <a:r>
                        <a:rPr lang="en-US" sz="2700" b="1" kern="120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6971" lvl="1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3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hereum Smart Contract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139425"/>
                  </a:ext>
                </a:extLst>
              </a:tr>
              <a:tr h="921393">
                <a:tc>
                  <a:txBody>
                    <a:bodyPr/>
                    <a:lstStyle/>
                    <a:p>
                      <a:pPr algn="ctr"/>
                      <a:r>
                        <a:rPr lang="en-US" sz="2700" b="1" kern="120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6971" lvl="1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3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allenges Faced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1393">
                <a:tc>
                  <a:txBody>
                    <a:bodyPr/>
                    <a:lstStyle/>
                    <a:p>
                      <a:pPr algn="ctr"/>
                      <a:r>
                        <a:rPr lang="en-US" sz="27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6971" lvl="1" algn="l" defTabSz="914400" rtl="0" eaLnBrk="1" latinLnBrk="0" hangingPunct="1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300" b="1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ture Developments and Next Step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1393">
                <a:tc>
                  <a:txBody>
                    <a:bodyPr/>
                    <a:lstStyle/>
                    <a:p>
                      <a:pPr algn="ctr"/>
                      <a:endParaRPr lang="en-US" sz="2700" b="1" kern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134323"/>
                  </a:ext>
                </a:extLst>
              </a:tr>
            </a:tbl>
          </a:graphicData>
        </a:graphic>
      </p:graphicFrame>
      <p:grpSp>
        <p:nvGrpSpPr>
          <p:cNvPr id="45" name="Group 44">
            <a:extLst>
              <a:ext uri="{FF2B5EF4-FFF2-40B4-BE49-F238E27FC236}">
                <a16:creationId xmlns:a16="http://schemas.microsoft.com/office/drawing/2014/main" id="{F1C01243-3983-43F5-A547-C447897C9CDD}"/>
              </a:ext>
            </a:extLst>
          </p:cNvPr>
          <p:cNvGrpSpPr>
            <a:grpSpLocks noChangeAspect="1"/>
          </p:cNvGrpSpPr>
          <p:nvPr/>
        </p:nvGrpSpPr>
        <p:grpSpPr>
          <a:xfrm>
            <a:off x="4691953" y="1970830"/>
            <a:ext cx="416441" cy="307857"/>
            <a:chOff x="6445608" y="3514725"/>
            <a:chExt cx="554037" cy="409576"/>
          </a:xfrm>
        </p:grpSpPr>
        <p:sp>
          <p:nvSpPr>
            <p:cNvPr id="57" name="Freeform 91">
              <a:extLst>
                <a:ext uri="{FF2B5EF4-FFF2-40B4-BE49-F238E27FC236}">
                  <a16:creationId xmlns:a16="http://schemas.microsoft.com/office/drawing/2014/main" id="{230C55C6-202A-4DD2-9F60-61BE8BA0F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120" y="3624263"/>
              <a:ext cx="301625" cy="215900"/>
            </a:xfrm>
            <a:custGeom>
              <a:avLst/>
              <a:gdLst>
                <a:gd name="T0" fmla="*/ 100 w 100"/>
                <a:gd name="T1" fmla="*/ 0 h 72"/>
                <a:gd name="T2" fmla="*/ 8 w 100"/>
                <a:gd name="T3" fmla="*/ 0 h 72"/>
                <a:gd name="T4" fmla="*/ 0 w 100"/>
                <a:gd name="T5" fmla="*/ 8 h 72"/>
                <a:gd name="T6" fmla="*/ 0 w 100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72">
                  <a:moveTo>
                    <a:pt x="10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72"/>
                    <a:pt x="0" y="72"/>
                    <a:pt x="0" y="72"/>
                  </a:cubicBezTo>
                </a:path>
              </a:pathLst>
            </a:custGeom>
            <a:noFill/>
            <a:ln w="1905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60" name="Freeform 92">
              <a:extLst>
                <a:ext uri="{FF2B5EF4-FFF2-40B4-BE49-F238E27FC236}">
                  <a16:creationId xmlns:a16="http://schemas.microsoft.com/office/drawing/2014/main" id="{0AE4AEC7-9C19-41E0-BAC6-A258AD6DB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608" y="3863975"/>
              <a:ext cx="277813" cy="49213"/>
            </a:xfrm>
            <a:custGeom>
              <a:avLst/>
              <a:gdLst>
                <a:gd name="T0" fmla="*/ 92 w 92"/>
                <a:gd name="T1" fmla="*/ 16 h 16"/>
                <a:gd name="T2" fmla="*/ 8 w 92"/>
                <a:gd name="T3" fmla="*/ 16 h 16"/>
                <a:gd name="T4" fmla="*/ 0 w 92"/>
                <a:gd name="T5" fmla="*/ 8 h 16"/>
                <a:gd name="T6" fmla="*/ 0 w 92"/>
                <a:gd name="T7" fmla="*/ 0 h 16"/>
                <a:gd name="T8" fmla="*/ 92 w 92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6">
                  <a:moveTo>
                    <a:pt x="9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0"/>
                    <a:pt x="92" y="0"/>
                    <a:pt x="92" y="0"/>
                  </a:cubicBezTo>
                </a:path>
              </a:pathLst>
            </a:custGeom>
            <a:noFill/>
            <a:ln w="1905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61" name="Freeform 93">
              <a:extLst>
                <a:ext uri="{FF2B5EF4-FFF2-40B4-BE49-F238E27FC236}">
                  <a16:creationId xmlns:a16="http://schemas.microsoft.com/office/drawing/2014/main" id="{8B4D4130-3702-479C-9ADA-07D12EADC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0070" y="3684588"/>
              <a:ext cx="109538" cy="119063"/>
            </a:xfrm>
            <a:custGeom>
              <a:avLst/>
              <a:gdLst>
                <a:gd name="T0" fmla="*/ 0 w 69"/>
                <a:gd name="T1" fmla="*/ 0 h 75"/>
                <a:gd name="T2" fmla="*/ 0 w 69"/>
                <a:gd name="T3" fmla="*/ 75 h 75"/>
                <a:gd name="T4" fmla="*/ 69 w 69"/>
                <a:gd name="T5" fmla="*/ 37 h 75"/>
                <a:gd name="T6" fmla="*/ 0 w 69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75">
                  <a:moveTo>
                    <a:pt x="0" y="0"/>
                  </a:moveTo>
                  <a:lnTo>
                    <a:pt x="0" y="75"/>
                  </a:lnTo>
                  <a:lnTo>
                    <a:pt x="69" y="3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62" name="Freeform 94">
              <a:extLst>
                <a:ext uri="{FF2B5EF4-FFF2-40B4-BE49-F238E27FC236}">
                  <a16:creationId xmlns:a16="http://schemas.microsoft.com/office/drawing/2014/main" id="{6B648FC5-A5E5-42C5-8F00-2C9FBDD4F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8670" y="3514725"/>
              <a:ext cx="120650" cy="144463"/>
            </a:xfrm>
            <a:custGeom>
              <a:avLst/>
              <a:gdLst>
                <a:gd name="T0" fmla="*/ 20 w 40"/>
                <a:gd name="T1" fmla="*/ 48 h 48"/>
                <a:gd name="T2" fmla="*/ 0 w 40"/>
                <a:gd name="T3" fmla="*/ 27 h 48"/>
                <a:gd name="T4" fmla="*/ 0 w 40"/>
                <a:gd name="T5" fmla="*/ 20 h 48"/>
                <a:gd name="T6" fmla="*/ 20 w 40"/>
                <a:gd name="T7" fmla="*/ 0 h 48"/>
                <a:gd name="T8" fmla="*/ 40 w 40"/>
                <a:gd name="T9" fmla="*/ 20 h 48"/>
                <a:gd name="T10" fmla="*/ 40 w 40"/>
                <a:gd name="T11" fmla="*/ 27 h 48"/>
                <a:gd name="T12" fmla="*/ 20 w 40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8">
                  <a:moveTo>
                    <a:pt x="20" y="48"/>
                  </a:moveTo>
                  <a:cubicBezTo>
                    <a:pt x="9" y="48"/>
                    <a:pt x="0" y="38"/>
                    <a:pt x="0" y="2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38"/>
                    <a:pt x="31" y="48"/>
                    <a:pt x="20" y="48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63" name="Freeform 95">
              <a:extLst>
                <a:ext uri="{FF2B5EF4-FFF2-40B4-BE49-F238E27FC236}">
                  <a16:creationId xmlns:a16="http://schemas.microsoft.com/office/drawing/2014/main" id="{535A0BA1-D19F-432E-956B-C8AED5A03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345" y="3695700"/>
              <a:ext cx="241300" cy="228600"/>
            </a:xfrm>
            <a:custGeom>
              <a:avLst/>
              <a:gdLst>
                <a:gd name="T0" fmla="*/ 0 w 80"/>
                <a:gd name="T1" fmla="*/ 76 h 76"/>
                <a:gd name="T2" fmla="*/ 0 w 80"/>
                <a:gd name="T3" fmla="*/ 20 h 76"/>
                <a:gd name="T4" fmla="*/ 40 w 80"/>
                <a:gd name="T5" fmla="*/ 0 h 76"/>
                <a:gd name="T6" fmla="*/ 80 w 80"/>
                <a:gd name="T7" fmla="*/ 20 h 76"/>
                <a:gd name="T8" fmla="*/ 80 w 80"/>
                <a:gd name="T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">
                  <a:moveTo>
                    <a:pt x="0" y="76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4"/>
                    <a:pt x="25" y="0"/>
                    <a:pt x="40" y="0"/>
                  </a:cubicBezTo>
                  <a:cubicBezTo>
                    <a:pt x="55" y="0"/>
                    <a:pt x="80" y="4"/>
                    <a:pt x="80" y="20"/>
                  </a:cubicBezTo>
                  <a:cubicBezTo>
                    <a:pt x="80" y="76"/>
                    <a:pt x="80" y="76"/>
                    <a:pt x="80" y="76"/>
                  </a:cubicBezTo>
                </a:path>
              </a:pathLst>
            </a:cu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65" name="Line 96">
              <a:extLst>
                <a:ext uri="{FF2B5EF4-FFF2-40B4-BE49-F238E27FC236}">
                  <a16:creationId xmlns:a16="http://schemas.microsoft.com/office/drawing/2014/main" id="{5AB9A8A5-71E9-4624-B4D3-EF70294929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18670" y="3792538"/>
              <a:ext cx="0" cy="131763"/>
            </a:xfrm>
            <a:prstGeom prst="line">
              <a:avLst/>
            </a:pr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66" name="Line 97">
              <a:extLst>
                <a:ext uri="{FF2B5EF4-FFF2-40B4-BE49-F238E27FC236}">
                  <a16:creationId xmlns:a16="http://schemas.microsoft.com/office/drawing/2014/main" id="{1AA451D9-9A9C-4F76-8352-6E041F5F47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39320" y="3792538"/>
              <a:ext cx="0" cy="131763"/>
            </a:xfrm>
            <a:prstGeom prst="line">
              <a:avLst/>
            </a:pr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</p:grpSp>
      <p:grpSp>
        <p:nvGrpSpPr>
          <p:cNvPr id="68" name="Group 23">
            <a:extLst>
              <a:ext uri="{FF2B5EF4-FFF2-40B4-BE49-F238E27FC236}">
                <a16:creationId xmlns:a16="http://schemas.microsoft.com/office/drawing/2014/main" id="{C81481F3-A6F8-45C3-95E8-E49370F321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2646" y="2868537"/>
            <a:ext cx="354661" cy="397938"/>
            <a:chOff x="1914" y="837"/>
            <a:chExt cx="672" cy="754"/>
          </a:xfrm>
          <a:solidFill>
            <a:srgbClr val="0B9CD0"/>
          </a:solidFill>
        </p:grpSpPr>
        <p:sp>
          <p:nvSpPr>
            <p:cNvPr id="70" name="Freeform 24">
              <a:extLst>
                <a:ext uri="{FF2B5EF4-FFF2-40B4-BE49-F238E27FC236}">
                  <a16:creationId xmlns:a16="http://schemas.microsoft.com/office/drawing/2014/main" id="{01A1E617-C287-4A48-9FCC-8453C23F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" y="837"/>
              <a:ext cx="526" cy="698"/>
            </a:xfrm>
            <a:custGeom>
              <a:avLst/>
              <a:gdLst>
                <a:gd name="T0" fmla="*/ 526 w 526"/>
                <a:gd name="T1" fmla="*/ 698 h 698"/>
                <a:gd name="T2" fmla="*/ 260 w 526"/>
                <a:gd name="T3" fmla="*/ 698 h 698"/>
                <a:gd name="T4" fmla="*/ 260 w 526"/>
                <a:gd name="T5" fmla="*/ 680 h 698"/>
                <a:gd name="T6" fmla="*/ 508 w 526"/>
                <a:gd name="T7" fmla="*/ 680 h 698"/>
                <a:gd name="T8" fmla="*/ 508 w 526"/>
                <a:gd name="T9" fmla="*/ 144 h 698"/>
                <a:gd name="T10" fmla="*/ 384 w 526"/>
                <a:gd name="T11" fmla="*/ 144 h 698"/>
                <a:gd name="T12" fmla="*/ 382 w 526"/>
                <a:gd name="T13" fmla="*/ 18 h 698"/>
                <a:gd name="T14" fmla="*/ 18 w 526"/>
                <a:gd name="T15" fmla="*/ 18 h 698"/>
                <a:gd name="T16" fmla="*/ 18 w 526"/>
                <a:gd name="T17" fmla="*/ 680 h 698"/>
                <a:gd name="T18" fmla="*/ 102 w 526"/>
                <a:gd name="T19" fmla="*/ 680 h 698"/>
                <a:gd name="T20" fmla="*/ 102 w 526"/>
                <a:gd name="T21" fmla="*/ 698 h 698"/>
                <a:gd name="T22" fmla="*/ 0 w 526"/>
                <a:gd name="T23" fmla="*/ 698 h 698"/>
                <a:gd name="T24" fmla="*/ 0 w 526"/>
                <a:gd name="T25" fmla="*/ 0 h 698"/>
                <a:gd name="T26" fmla="*/ 400 w 526"/>
                <a:gd name="T27" fmla="*/ 0 h 698"/>
                <a:gd name="T28" fmla="*/ 402 w 526"/>
                <a:gd name="T29" fmla="*/ 126 h 698"/>
                <a:gd name="T30" fmla="*/ 526 w 526"/>
                <a:gd name="T31" fmla="*/ 126 h 698"/>
                <a:gd name="T32" fmla="*/ 526 w 526"/>
                <a:gd name="T33" fmla="*/ 698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6" h="698">
                  <a:moveTo>
                    <a:pt x="526" y="698"/>
                  </a:moveTo>
                  <a:lnTo>
                    <a:pt x="260" y="698"/>
                  </a:lnTo>
                  <a:lnTo>
                    <a:pt x="260" y="680"/>
                  </a:lnTo>
                  <a:lnTo>
                    <a:pt x="508" y="680"/>
                  </a:lnTo>
                  <a:lnTo>
                    <a:pt x="508" y="144"/>
                  </a:lnTo>
                  <a:lnTo>
                    <a:pt x="384" y="144"/>
                  </a:lnTo>
                  <a:lnTo>
                    <a:pt x="382" y="18"/>
                  </a:lnTo>
                  <a:lnTo>
                    <a:pt x="18" y="18"/>
                  </a:lnTo>
                  <a:lnTo>
                    <a:pt x="18" y="680"/>
                  </a:lnTo>
                  <a:lnTo>
                    <a:pt x="102" y="680"/>
                  </a:lnTo>
                  <a:lnTo>
                    <a:pt x="102" y="698"/>
                  </a:lnTo>
                  <a:lnTo>
                    <a:pt x="0" y="698"/>
                  </a:lnTo>
                  <a:lnTo>
                    <a:pt x="0" y="0"/>
                  </a:lnTo>
                  <a:lnTo>
                    <a:pt x="400" y="0"/>
                  </a:lnTo>
                  <a:lnTo>
                    <a:pt x="402" y="126"/>
                  </a:lnTo>
                  <a:lnTo>
                    <a:pt x="526" y="126"/>
                  </a:lnTo>
                  <a:lnTo>
                    <a:pt x="526" y="69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25">
              <a:extLst>
                <a:ext uri="{FF2B5EF4-FFF2-40B4-BE49-F238E27FC236}">
                  <a16:creationId xmlns:a16="http://schemas.microsoft.com/office/drawing/2014/main" id="{A80F15F2-94F1-4168-AD50-9D0ED43EC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2" y="839"/>
              <a:ext cx="138" cy="138"/>
            </a:xfrm>
            <a:custGeom>
              <a:avLst/>
              <a:gdLst>
                <a:gd name="T0" fmla="*/ 124 w 138"/>
                <a:gd name="T1" fmla="*/ 138 h 138"/>
                <a:gd name="T2" fmla="*/ 0 w 138"/>
                <a:gd name="T3" fmla="*/ 12 h 138"/>
                <a:gd name="T4" fmla="*/ 12 w 138"/>
                <a:gd name="T5" fmla="*/ 0 h 138"/>
                <a:gd name="T6" fmla="*/ 138 w 138"/>
                <a:gd name="T7" fmla="*/ 126 h 138"/>
                <a:gd name="T8" fmla="*/ 124 w 138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38">
                  <a:moveTo>
                    <a:pt x="124" y="138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138" y="126"/>
                  </a:lnTo>
                  <a:lnTo>
                    <a:pt x="124" y="13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Rectangle 26">
              <a:extLst>
                <a:ext uri="{FF2B5EF4-FFF2-40B4-BE49-F238E27FC236}">
                  <a16:creationId xmlns:a16="http://schemas.microsoft.com/office/drawing/2014/main" id="{ADB1A9C1-A511-4B53-BC1E-F3487D409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6" y="949"/>
              <a:ext cx="128" cy="18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Rectangle 27">
              <a:extLst>
                <a:ext uri="{FF2B5EF4-FFF2-40B4-BE49-F238E27FC236}">
                  <a16:creationId xmlns:a16="http://schemas.microsoft.com/office/drawing/2014/main" id="{62335A86-73B6-4631-843B-F44E51BF9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" y="1079"/>
              <a:ext cx="304" cy="18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28">
              <a:extLst>
                <a:ext uri="{FF2B5EF4-FFF2-40B4-BE49-F238E27FC236}">
                  <a16:creationId xmlns:a16="http://schemas.microsoft.com/office/drawing/2014/main" id="{15C1103A-A18D-4FB4-BF64-6D32B7ED6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0" y="1081"/>
              <a:ext cx="12" cy="12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29">
              <a:extLst>
                <a:ext uri="{FF2B5EF4-FFF2-40B4-BE49-F238E27FC236}">
                  <a16:creationId xmlns:a16="http://schemas.microsoft.com/office/drawing/2014/main" id="{3A8C2045-BFCD-4614-BBA1-6DC4BC72E9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" y="1123"/>
              <a:ext cx="304" cy="18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Rectangle 30">
              <a:extLst>
                <a:ext uri="{FF2B5EF4-FFF2-40B4-BE49-F238E27FC236}">
                  <a16:creationId xmlns:a16="http://schemas.microsoft.com/office/drawing/2014/main" id="{DE64E11E-3079-4B1F-8D81-A2F2EF6FE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0" y="1127"/>
              <a:ext cx="12" cy="12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31">
              <a:extLst>
                <a:ext uri="{FF2B5EF4-FFF2-40B4-BE49-F238E27FC236}">
                  <a16:creationId xmlns:a16="http://schemas.microsoft.com/office/drawing/2014/main" id="{67319759-9CD8-4E0C-AB61-E4FE25E23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" y="1169"/>
              <a:ext cx="304" cy="18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Rectangle 32">
              <a:extLst>
                <a:ext uri="{FF2B5EF4-FFF2-40B4-BE49-F238E27FC236}">
                  <a16:creationId xmlns:a16="http://schemas.microsoft.com/office/drawing/2014/main" id="{33B07065-E065-4F9C-8EB5-DDDCC78A23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0" y="1171"/>
              <a:ext cx="12" cy="12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33">
              <a:extLst>
                <a:ext uri="{FF2B5EF4-FFF2-40B4-BE49-F238E27FC236}">
                  <a16:creationId xmlns:a16="http://schemas.microsoft.com/office/drawing/2014/main" id="{BB0ECED2-1DB7-42A8-948C-5CF710C57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" y="1213"/>
              <a:ext cx="304" cy="18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34">
              <a:extLst>
                <a:ext uri="{FF2B5EF4-FFF2-40B4-BE49-F238E27FC236}">
                  <a16:creationId xmlns:a16="http://schemas.microsoft.com/office/drawing/2014/main" id="{FF04E943-C1D7-4FA0-9F8E-0CF976AF28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0" y="1217"/>
              <a:ext cx="12" cy="12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Rectangle 35">
              <a:extLst>
                <a:ext uri="{FF2B5EF4-FFF2-40B4-BE49-F238E27FC236}">
                  <a16:creationId xmlns:a16="http://schemas.microsoft.com/office/drawing/2014/main" id="{37211E80-2B00-41B2-ABAC-E93BA75E5F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8" y="1259"/>
              <a:ext cx="176" cy="18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Rectangle 36">
              <a:extLst>
                <a:ext uri="{FF2B5EF4-FFF2-40B4-BE49-F238E27FC236}">
                  <a16:creationId xmlns:a16="http://schemas.microsoft.com/office/drawing/2014/main" id="{15E25732-0CA5-4CCA-A22F-5E2C69B61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0" y="1261"/>
              <a:ext cx="12" cy="14"/>
            </a:xfrm>
            <a:prstGeom prst="rect">
              <a:avLst/>
            </a:prstGeom>
            <a:grp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7">
              <a:extLst>
                <a:ext uri="{FF2B5EF4-FFF2-40B4-BE49-F238E27FC236}">
                  <a16:creationId xmlns:a16="http://schemas.microsoft.com/office/drawing/2014/main" id="{F97356A8-961E-462C-9DF7-9B72361855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4" y="1379"/>
              <a:ext cx="112" cy="112"/>
            </a:xfrm>
            <a:custGeom>
              <a:avLst/>
              <a:gdLst>
                <a:gd name="T0" fmla="*/ 56 w 112"/>
                <a:gd name="T1" fmla="*/ 112 h 112"/>
                <a:gd name="T2" fmla="*/ 34 w 112"/>
                <a:gd name="T3" fmla="*/ 108 h 112"/>
                <a:gd name="T4" fmla="*/ 16 w 112"/>
                <a:gd name="T5" fmla="*/ 96 h 112"/>
                <a:gd name="T6" fmla="*/ 4 w 112"/>
                <a:gd name="T7" fmla="*/ 78 h 112"/>
                <a:gd name="T8" fmla="*/ 0 w 112"/>
                <a:gd name="T9" fmla="*/ 56 h 112"/>
                <a:gd name="T10" fmla="*/ 0 w 112"/>
                <a:gd name="T11" fmla="*/ 44 h 112"/>
                <a:gd name="T12" fmla="*/ 10 w 112"/>
                <a:gd name="T13" fmla="*/ 24 h 112"/>
                <a:gd name="T14" fmla="*/ 24 w 112"/>
                <a:gd name="T15" fmla="*/ 8 h 112"/>
                <a:gd name="T16" fmla="*/ 44 w 112"/>
                <a:gd name="T17" fmla="*/ 0 h 112"/>
                <a:gd name="T18" fmla="*/ 56 w 112"/>
                <a:gd name="T19" fmla="*/ 0 h 112"/>
                <a:gd name="T20" fmla="*/ 78 w 112"/>
                <a:gd name="T21" fmla="*/ 4 h 112"/>
                <a:gd name="T22" fmla="*/ 96 w 112"/>
                <a:gd name="T23" fmla="*/ 16 h 112"/>
                <a:gd name="T24" fmla="*/ 108 w 112"/>
                <a:gd name="T25" fmla="*/ 34 h 112"/>
                <a:gd name="T26" fmla="*/ 112 w 112"/>
                <a:gd name="T27" fmla="*/ 56 h 112"/>
                <a:gd name="T28" fmla="*/ 110 w 112"/>
                <a:gd name="T29" fmla="*/ 66 h 112"/>
                <a:gd name="T30" fmla="*/ 102 w 112"/>
                <a:gd name="T31" fmla="*/ 86 h 112"/>
                <a:gd name="T32" fmla="*/ 86 w 112"/>
                <a:gd name="T33" fmla="*/ 102 h 112"/>
                <a:gd name="T34" fmla="*/ 66 w 112"/>
                <a:gd name="T35" fmla="*/ 110 h 112"/>
                <a:gd name="T36" fmla="*/ 56 w 112"/>
                <a:gd name="T37" fmla="*/ 112 h 112"/>
                <a:gd name="T38" fmla="*/ 56 w 112"/>
                <a:gd name="T39" fmla="*/ 18 h 112"/>
                <a:gd name="T40" fmla="*/ 40 w 112"/>
                <a:gd name="T41" fmla="*/ 20 h 112"/>
                <a:gd name="T42" fmla="*/ 28 w 112"/>
                <a:gd name="T43" fmla="*/ 28 h 112"/>
                <a:gd name="T44" fmla="*/ 20 w 112"/>
                <a:gd name="T45" fmla="*/ 40 h 112"/>
                <a:gd name="T46" fmla="*/ 18 w 112"/>
                <a:gd name="T47" fmla="*/ 56 h 112"/>
                <a:gd name="T48" fmla="*/ 18 w 112"/>
                <a:gd name="T49" fmla="*/ 64 h 112"/>
                <a:gd name="T50" fmla="*/ 24 w 112"/>
                <a:gd name="T51" fmla="*/ 76 h 112"/>
                <a:gd name="T52" fmla="*/ 34 w 112"/>
                <a:gd name="T53" fmla="*/ 88 h 112"/>
                <a:gd name="T54" fmla="*/ 48 w 112"/>
                <a:gd name="T55" fmla="*/ 92 h 112"/>
                <a:gd name="T56" fmla="*/ 56 w 112"/>
                <a:gd name="T57" fmla="*/ 94 h 112"/>
                <a:gd name="T58" fmla="*/ 70 w 112"/>
                <a:gd name="T59" fmla="*/ 90 h 112"/>
                <a:gd name="T60" fmla="*/ 82 w 112"/>
                <a:gd name="T61" fmla="*/ 82 h 112"/>
                <a:gd name="T62" fmla="*/ 90 w 112"/>
                <a:gd name="T63" fmla="*/ 70 h 112"/>
                <a:gd name="T64" fmla="*/ 94 w 112"/>
                <a:gd name="T65" fmla="*/ 56 h 112"/>
                <a:gd name="T66" fmla="*/ 92 w 112"/>
                <a:gd name="T67" fmla="*/ 48 h 112"/>
                <a:gd name="T68" fmla="*/ 88 w 112"/>
                <a:gd name="T69" fmla="*/ 34 h 112"/>
                <a:gd name="T70" fmla="*/ 76 w 112"/>
                <a:gd name="T71" fmla="*/ 24 h 112"/>
                <a:gd name="T72" fmla="*/ 64 w 112"/>
                <a:gd name="T73" fmla="*/ 18 h 112"/>
                <a:gd name="T74" fmla="*/ 56 w 112"/>
                <a:gd name="T75" fmla="*/ 1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lnTo>
                    <a:pt x="56" y="112"/>
                  </a:lnTo>
                  <a:lnTo>
                    <a:pt x="44" y="110"/>
                  </a:lnTo>
                  <a:lnTo>
                    <a:pt x="34" y="108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0" y="86"/>
                  </a:lnTo>
                  <a:lnTo>
                    <a:pt x="4" y="78"/>
                  </a:lnTo>
                  <a:lnTo>
                    <a:pt x="0" y="6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8"/>
                  </a:lnTo>
                  <a:lnTo>
                    <a:pt x="34" y="4"/>
                  </a:lnTo>
                  <a:lnTo>
                    <a:pt x="44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6" y="0"/>
                  </a:lnTo>
                  <a:lnTo>
                    <a:pt x="78" y="4"/>
                  </a:lnTo>
                  <a:lnTo>
                    <a:pt x="86" y="8"/>
                  </a:lnTo>
                  <a:lnTo>
                    <a:pt x="96" y="16"/>
                  </a:lnTo>
                  <a:lnTo>
                    <a:pt x="102" y="24"/>
                  </a:lnTo>
                  <a:lnTo>
                    <a:pt x="108" y="34"/>
                  </a:lnTo>
                  <a:lnTo>
                    <a:pt x="110" y="4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0" y="66"/>
                  </a:lnTo>
                  <a:lnTo>
                    <a:pt x="108" y="78"/>
                  </a:lnTo>
                  <a:lnTo>
                    <a:pt x="102" y="86"/>
                  </a:lnTo>
                  <a:lnTo>
                    <a:pt x="96" y="96"/>
                  </a:lnTo>
                  <a:lnTo>
                    <a:pt x="86" y="102"/>
                  </a:lnTo>
                  <a:lnTo>
                    <a:pt x="78" y="108"/>
                  </a:lnTo>
                  <a:lnTo>
                    <a:pt x="66" y="110"/>
                  </a:lnTo>
                  <a:lnTo>
                    <a:pt x="56" y="112"/>
                  </a:lnTo>
                  <a:lnTo>
                    <a:pt x="56" y="112"/>
                  </a:lnTo>
                  <a:close/>
                  <a:moveTo>
                    <a:pt x="56" y="18"/>
                  </a:moveTo>
                  <a:lnTo>
                    <a:pt x="56" y="18"/>
                  </a:lnTo>
                  <a:lnTo>
                    <a:pt x="48" y="18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28" y="28"/>
                  </a:lnTo>
                  <a:lnTo>
                    <a:pt x="24" y="34"/>
                  </a:lnTo>
                  <a:lnTo>
                    <a:pt x="20" y="40"/>
                  </a:lnTo>
                  <a:lnTo>
                    <a:pt x="18" y="48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64"/>
                  </a:lnTo>
                  <a:lnTo>
                    <a:pt x="20" y="70"/>
                  </a:lnTo>
                  <a:lnTo>
                    <a:pt x="24" y="76"/>
                  </a:lnTo>
                  <a:lnTo>
                    <a:pt x="28" y="82"/>
                  </a:lnTo>
                  <a:lnTo>
                    <a:pt x="34" y="88"/>
                  </a:lnTo>
                  <a:lnTo>
                    <a:pt x="40" y="90"/>
                  </a:lnTo>
                  <a:lnTo>
                    <a:pt x="48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64" y="92"/>
                  </a:lnTo>
                  <a:lnTo>
                    <a:pt x="70" y="90"/>
                  </a:lnTo>
                  <a:lnTo>
                    <a:pt x="76" y="88"/>
                  </a:lnTo>
                  <a:lnTo>
                    <a:pt x="82" y="82"/>
                  </a:lnTo>
                  <a:lnTo>
                    <a:pt x="88" y="76"/>
                  </a:lnTo>
                  <a:lnTo>
                    <a:pt x="90" y="70"/>
                  </a:lnTo>
                  <a:lnTo>
                    <a:pt x="92" y="64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2" y="48"/>
                  </a:lnTo>
                  <a:lnTo>
                    <a:pt x="90" y="40"/>
                  </a:lnTo>
                  <a:lnTo>
                    <a:pt x="88" y="34"/>
                  </a:lnTo>
                  <a:lnTo>
                    <a:pt x="82" y="28"/>
                  </a:lnTo>
                  <a:lnTo>
                    <a:pt x="76" y="24"/>
                  </a:lnTo>
                  <a:lnTo>
                    <a:pt x="70" y="20"/>
                  </a:lnTo>
                  <a:lnTo>
                    <a:pt x="64" y="18"/>
                  </a:lnTo>
                  <a:lnTo>
                    <a:pt x="56" y="18"/>
                  </a:lnTo>
                  <a:lnTo>
                    <a:pt x="56" y="1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8">
              <a:extLst>
                <a:ext uri="{FF2B5EF4-FFF2-40B4-BE49-F238E27FC236}">
                  <a16:creationId xmlns:a16="http://schemas.microsoft.com/office/drawing/2014/main" id="{5552BFFE-CFC5-4EBE-9058-CE8B9FF37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4" y="1435"/>
              <a:ext cx="112" cy="156"/>
            </a:xfrm>
            <a:custGeom>
              <a:avLst/>
              <a:gdLst>
                <a:gd name="T0" fmla="*/ 112 w 112"/>
                <a:gd name="T1" fmla="*/ 156 h 156"/>
                <a:gd name="T2" fmla="*/ 56 w 112"/>
                <a:gd name="T3" fmla="*/ 110 h 156"/>
                <a:gd name="T4" fmla="*/ 0 w 112"/>
                <a:gd name="T5" fmla="*/ 156 h 156"/>
                <a:gd name="T6" fmla="*/ 0 w 112"/>
                <a:gd name="T7" fmla="*/ 0 h 156"/>
                <a:gd name="T8" fmla="*/ 18 w 112"/>
                <a:gd name="T9" fmla="*/ 0 h 156"/>
                <a:gd name="T10" fmla="*/ 18 w 112"/>
                <a:gd name="T11" fmla="*/ 118 h 156"/>
                <a:gd name="T12" fmla="*/ 56 w 112"/>
                <a:gd name="T13" fmla="*/ 86 h 156"/>
                <a:gd name="T14" fmla="*/ 94 w 112"/>
                <a:gd name="T15" fmla="*/ 118 h 156"/>
                <a:gd name="T16" fmla="*/ 94 w 112"/>
                <a:gd name="T17" fmla="*/ 0 h 156"/>
                <a:gd name="T18" fmla="*/ 112 w 112"/>
                <a:gd name="T19" fmla="*/ 0 h 156"/>
                <a:gd name="T20" fmla="*/ 112 w 112"/>
                <a:gd name="T2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2" h="156">
                  <a:moveTo>
                    <a:pt x="112" y="156"/>
                  </a:moveTo>
                  <a:lnTo>
                    <a:pt x="56" y="110"/>
                  </a:lnTo>
                  <a:lnTo>
                    <a:pt x="0" y="15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18"/>
                  </a:lnTo>
                  <a:lnTo>
                    <a:pt x="56" y="86"/>
                  </a:lnTo>
                  <a:lnTo>
                    <a:pt x="94" y="118"/>
                  </a:lnTo>
                  <a:lnTo>
                    <a:pt x="94" y="0"/>
                  </a:lnTo>
                  <a:lnTo>
                    <a:pt x="112" y="0"/>
                  </a:lnTo>
                  <a:lnTo>
                    <a:pt x="112" y="156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9">
              <a:extLst>
                <a:ext uri="{FF2B5EF4-FFF2-40B4-BE49-F238E27FC236}">
                  <a16:creationId xmlns:a16="http://schemas.microsoft.com/office/drawing/2014/main" id="{1506EE12-D793-4D7F-9EBB-4585FFD7F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2" y="1359"/>
              <a:ext cx="76" cy="80"/>
            </a:xfrm>
            <a:custGeom>
              <a:avLst/>
              <a:gdLst>
                <a:gd name="T0" fmla="*/ 38 w 76"/>
                <a:gd name="T1" fmla="*/ 80 h 80"/>
                <a:gd name="T2" fmla="*/ 34 w 76"/>
                <a:gd name="T3" fmla="*/ 78 h 80"/>
                <a:gd name="T4" fmla="*/ 34 w 76"/>
                <a:gd name="T5" fmla="*/ 78 h 80"/>
                <a:gd name="T6" fmla="*/ 26 w 76"/>
                <a:gd name="T7" fmla="*/ 72 h 80"/>
                <a:gd name="T8" fmla="*/ 14 w 76"/>
                <a:gd name="T9" fmla="*/ 64 h 80"/>
                <a:gd name="T10" fmla="*/ 10 w 76"/>
                <a:gd name="T11" fmla="*/ 58 h 80"/>
                <a:gd name="T12" fmla="*/ 4 w 76"/>
                <a:gd name="T13" fmla="*/ 52 h 80"/>
                <a:gd name="T14" fmla="*/ 2 w 76"/>
                <a:gd name="T15" fmla="*/ 44 h 80"/>
                <a:gd name="T16" fmla="*/ 0 w 76"/>
                <a:gd name="T17" fmla="*/ 38 h 80"/>
                <a:gd name="T18" fmla="*/ 0 w 76"/>
                <a:gd name="T19" fmla="*/ 38 h 80"/>
                <a:gd name="T20" fmla="*/ 0 w 76"/>
                <a:gd name="T21" fmla="*/ 30 h 80"/>
                <a:gd name="T22" fmla="*/ 2 w 76"/>
                <a:gd name="T23" fmla="*/ 22 h 80"/>
                <a:gd name="T24" fmla="*/ 6 w 76"/>
                <a:gd name="T25" fmla="*/ 16 h 80"/>
                <a:gd name="T26" fmla="*/ 12 w 76"/>
                <a:gd name="T27" fmla="*/ 10 h 80"/>
                <a:gd name="T28" fmla="*/ 16 w 76"/>
                <a:gd name="T29" fmla="*/ 6 h 80"/>
                <a:gd name="T30" fmla="*/ 24 w 76"/>
                <a:gd name="T31" fmla="*/ 2 h 80"/>
                <a:gd name="T32" fmla="*/ 30 w 76"/>
                <a:gd name="T33" fmla="*/ 0 h 80"/>
                <a:gd name="T34" fmla="*/ 38 w 76"/>
                <a:gd name="T35" fmla="*/ 0 h 80"/>
                <a:gd name="T36" fmla="*/ 38 w 76"/>
                <a:gd name="T37" fmla="*/ 0 h 80"/>
                <a:gd name="T38" fmla="*/ 46 w 76"/>
                <a:gd name="T39" fmla="*/ 0 h 80"/>
                <a:gd name="T40" fmla="*/ 52 w 76"/>
                <a:gd name="T41" fmla="*/ 2 h 80"/>
                <a:gd name="T42" fmla="*/ 60 w 76"/>
                <a:gd name="T43" fmla="*/ 6 h 80"/>
                <a:gd name="T44" fmla="*/ 64 w 76"/>
                <a:gd name="T45" fmla="*/ 10 h 80"/>
                <a:gd name="T46" fmla="*/ 70 w 76"/>
                <a:gd name="T47" fmla="*/ 16 h 80"/>
                <a:gd name="T48" fmla="*/ 74 w 76"/>
                <a:gd name="T49" fmla="*/ 22 h 80"/>
                <a:gd name="T50" fmla="*/ 76 w 76"/>
                <a:gd name="T51" fmla="*/ 30 h 80"/>
                <a:gd name="T52" fmla="*/ 76 w 76"/>
                <a:gd name="T53" fmla="*/ 38 h 80"/>
                <a:gd name="T54" fmla="*/ 76 w 76"/>
                <a:gd name="T55" fmla="*/ 38 h 80"/>
                <a:gd name="T56" fmla="*/ 74 w 76"/>
                <a:gd name="T57" fmla="*/ 44 h 80"/>
                <a:gd name="T58" fmla="*/ 72 w 76"/>
                <a:gd name="T59" fmla="*/ 52 h 80"/>
                <a:gd name="T60" fmla="*/ 66 w 76"/>
                <a:gd name="T61" fmla="*/ 58 h 80"/>
                <a:gd name="T62" fmla="*/ 62 w 76"/>
                <a:gd name="T63" fmla="*/ 64 h 80"/>
                <a:gd name="T64" fmla="*/ 50 w 76"/>
                <a:gd name="T65" fmla="*/ 72 h 80"/>
                <a:gd name="T66" fmla="*/ 42 w 76"/>
                <a:gd name="T67" fmla="*/ 78 h 80"/>
                <a:gd name="T68" fmla="*/ 38 w 76"/>
                <a:gd name="T69" fmla="*/ 80 h 80"/>
                <a:gd name="T70" fmla="*/ 38 w 76"/>
                <a:gd name="T71" fmla="*/ 18 h 80"/>
                <a:gd name="T72" fmla="*/ 38 w 76"/>
                <a:gd name="T73" fmla="*/ 18 h 80"/>
                <a:gd name="T74" fmla="*/ 30 w 76"/>
                <a:gd name="T75" fmla="*/ 18 h 80"/>
                <a:gd name="T76" fmla="*/ 24 w 76"/>
                <a:gd name="T77" fmla="*/ 24 h 80"/>
                <a:gd name="T78" fmla="*/ 20 w 76"/>
                <a:gd name="T79" fmla="*/ 30 h 80"/>
                <a:gd name="T80" fmla="*/ 18 w 76"/>
                <a:gd name="T81" fmla="*/ 38 h 80"/>
                <a:gd name="T82" fmla="*/ 18 w 76"/>
                <a:gd name="T83" fmla="*/ 38 h 80"/>
                <a:gd name="T84" fmla="*/ 20 w 76"/>
                <a:gd name="T85" fmla="*/ 42 h 80"/>
                <a:gd name="T86" fmla="*/ 24 w 76"/>
                <a:gd name="T87" fmla="*/ 48 h 80"/>
                <a:gd name="T88" fmla="*/ 38 w 76"/>
                <a:gd name="T89" fmla="*/ 60 h 80"/>
                <a:gd name="T90" fmla="*/ 38 w 76"/>
                <a:gd name="T91" fmla="*/ 60 h 80"/>
                <a:gd name="T92" fmla="*/ 52 w 76"/>
                <a:gd name="T93" fmla="*/ 48 h 80"/>
                <a:gd name="T94" fmla="*/ 56 w 76"/>
                <a:gd name="T95" fmla="*/ 42 h 80"/>
                <a:gd name="T96" fmla="*/ 58 w 76"/>
                <a:gd name="T97" fmla="*/ 38 h 80"/>
                <a:gd name="T98" fmla="*/ 58 w 76"/>
                <a:gd name="T99" fmla="*/ 38 h 80"/>
                <a:gd name="T100" fmla="*/ 56 w 76"/>
                <a:gd name="T101" fmla="*/ 30 h 80"/>
                <a:gd name="T102" fmla="*/ 52 w 76"/>
                <a:gd name="T103" fmla="*/ 24 h 80"/>
                <a:gd name="T104" fmla="*/ 46 w 76"/>
                <a:gd name="T105" fmla="*/ 18 h 80"/>
                <a:gd name="T106" fmla="*/ 38 w 76"/>
                <a:gd name="T107" fmla="*/ 18 h 80"/>
                <a:gd name="T108" fmla="*/ 38 w 76"/>
                <a:gd name="T109" fmla="*/ 1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6" h="80">
                  <a:moveTo>
                    <a:pt x="38" y="80"/>
                  </a:moveTo>
                  <a:lnTo>
                    <a:pt x="34" y="78"/>
                  </a:lnTo>
                  <a:lnTo>
                    <a:pt x="34" y="78"/>
                  </a:lnTo>
                  <a:lnTo>
                    <a:pt x="26" y="72"/>
                  </a:lnTo>
                  <a:lnTo>
                    <a:pt x="14" y="64"/>
                  </a:lnTo>
                  <a:lnTo>
                    <a:pt x="10" y="58"/>
                  </a:lnTo>
                  <a:lnTo>
                    <a:pt x="4" y="52"/>
                  </a:lnTo>
                  <a:lnTo>
                    <a:pt x="2" y="44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0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2" y="10"/>
                  </a:lnTo>
                  <a:lnTo>
                    <a:pt x="16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52" y="2"/>
                  </a:lnTo>
                  <a:lnTo>
                    <a:pt x="60" y="6"/>
                  </a:lnTo>
                  <a:lnTo>
                    <a:pt x="64" y="10"/>
                  </a:lnTo>
                  <a:lnTo>
                    <a:pt x="70" y="16"/>
                  </a:lnTo>
                  <a:lnTo>
                    <a:pt x="74" y="22"/>
                  </a:lnTo>
                  <a:lnTo>
                    <a:pt x="76" y="30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4" y="44"/>
                  </a:lnTo>
                  <a:lnTo>
                    <a:pt x="72" y="52"/>
                  </a:lnTo>
                  <a:lnTo>
                    <a:pt x="66" y="58"/>
                  </a:lnTo>
                  <a:lnTo>
                    <a:pt x="62" y="64"/>
                  </a:lnTo>
                  <a:lnTo>
                    <a:pt x="50" y="72"/>
                  </a:lnTo>
                  <a:lnTo>
                    <a:pt x="42" y="78"/>
                  </a:lnTo>
                  <a:lnTo>
                    <a:pt x="38" y="80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0" y="42"/>
                  </a:lnTo>
                  <a:lnTo>
                    <a:pt x="24" y="48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52" y="48"/>
                  </a:lnTo>
                  <a:lnTo>
                    <a:pt x="56" y="42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6" y="30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38" y="18"/>
                  </a:lnTo>
                  <a:lnTo>
                    <a:pt x="38" y="1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40">
              <a:extLst>
                <a:ext uri="{FF2B5EF4-FFF2-40B4-BE49-F238E27FC236}">
                  <a16:creationId xmlns:a16="http://schemas.microsoft.com/office/drawing/2014/main" id="{D52F2D50-BFA6-40BF-B482-600DBA53D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4" y="1395"/>
              <a:ext cx="128" cy="46"/>
            </a:xfrm>
            <a:custGeom>
              <a:avLst/>
              <a:gdLst>
                <a:gd name="T0" fmla="*/ 88 w 128"/>
                <a:gd name="T1" fmla="*/ 46 h 46"/>
                <a:gd name="T2" fmla="*/ 46 w 128"/>
                <a:gd name="T3" fmla="*/ 44 h 46"/>
                <a:gd name="T4" fmla="*/ 2 w 128"/>
                <a:gd name="T5" fmla="*/ 46 h 46"/>
                <a:gd name="T6" fmla="*/ 0 w 128"/>
                <a:gd name="T7" fmla="*/ 28 h 46"/>
                <a:gd name="T8" fmla="*/ 46 w 128"/>
                <a:gd name="T9" fmla="*/ 26 h 46"/>
                <a:gd name="T10" fmla="*/ 80 w 128"/>
                <a:gd name="T11" fmla="*/ 28 h 46"/>
                <a:gd name="T12" fmla="*/ 80 w 128"/>
                <a:gd name="T13" fmla="*/ 28 h 46"/>
                <a:gd name="T14" fmla="*/ 88 w 128"/>
                <a:gd name="T15" fmla="*/ 20 h 46"/>
                <a:gd name="T16" fmla="*/ 98 w 128"/>
                <a:gd name="T17" fmla="*/ 10 h 46"/>
                <a:gd name="T18" fmla="*/ 112 w 128"/>
                <a:gd name="T19" fmla="*/ 2 h 46"/>
                <a:gd name="T20" fmla="*/ 120 w 128"/>
                <a:gd name="T21" fmla="*/ 0 h 46"/>
                <a:gd name="T22" fmla="*/ 128 w 128"/>
                <a:gd name="T23" fmla="*/ 0 h 46"/>
                <a:gd name="T24" fmla="*/ 128 w 128"/>
                <a:gd name="T25" fmla="*/ 18 h 46"/>
                <a:gd name="T26" fmla="*/ 128 w 128"/>
                <a:gd name="T27" fmla="*/ 18 h 46"/>
                <a:gd name="T28" fmla="*/ 122 w 128"/>
                <a:gd name="T29" fmla="*/ 18 h 46"/>
                <a:gd name="T30" fmla="*/ 118 w 128"/>
                <a:gd name="T31" fmla="*/ 20 h 46"/>
                <a:gd name="T32" fmla="*/ 106 w 128"/>
                <a:gd name="T33" fmla="*/ 28 h 46"/>
                <a:gd name="T34" fmla="*/ 98 w 128"/>
                <a:gd name="T35" fmla="*/ 36 h 46"/>
                <a:gd name="T36" fmla="*/ 92 w 128"/>
                <a:gd name="T37" fmla="*/ 42 h 46"/>
                <a:gd name="T38" fmla="*/ 88 w 128"/>
                <a:gd name="T3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46">
                  <a:moveTo>
                    <a:pt x="88" y="46"/>
                  </a:moveTo>
                  <a:lnTo>
                    <a:pt x="46" y="44"/>
                  </a:lnTo>
                  <a:lnTo>
                    <a:pt x="2" y="46"/>
                  </a:lnTo>
                  <a:lnTo>
                    <a:pt x="0" y="28"/>
                  </a:lnTo>
                  <a:lnTo>
                    <a:pt x="46" y="26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8" y="20"/>
                  </a:lnTo>
                  <a:lnTo>
                    <a:pt x="98" y="10"/>
                  </a:lnTo>
                  <a:lnTo>
                    <a:pt x="112" y="2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2" y="18"/>
                  </a:lnTo>
                  <a:lnTo>
                    <a:pt x="118" y="20"/>
                  </a:lnTo>
                  <a:lnTo>
                    <a:pt x="106" y="28"/>
                  </a:lnTo>
                  <a:lnTo>
                    <a:pt x="98" y="36"/>
                  </a:lnTo>
                  <a:lnTo>
                    <a:pt x="92" y="42"/>
                  </a:lnTo>
                  <a:lnTo>
                    <a:pt x="88" y="46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1">
              <a:extLst>
                <a:ext uri="{FF2B5EF4-FFF2-40B4-BE49-F238E27FC236}">
                  <a16:creationId xmlns:a16="http://schemas.microsoft.com/office/drawing/2014/main" id="{9F2B4F0A-4372-45F3-96A5-CE445F9F2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2" y="941"/>
              <a:ext cx="68" cy="566"/>
            </a:xfrm>
            <a:custGeom>
              <a:avLst/>
              <a:gdLst>
                <a:gd name="T0" fmla="*/ 34 w 68"/>
                <a:gd name="T1" fmla="*/ 566 h 566"/>
                <a:gd name="T2" fmla="*/ 34 w 68"/>
                <a:gd name="T3" fmla="*/ 566 h 566"/>
                <a:gd name="T4" fmla="*/ 28 w 68"/>
                <a:gd name="T5" fmla="*/ 564 h 566"/>
                <a:gd name="T6" fmla="*/ 22 w 68"/>
                <a:gd name="T7" fmla="*/ 562 h 566"/>
                <a:gd name="T8" fmla="*/ 18 w 68"/>
                <a:gd name="T9" fmla="*/ 558 h 566"/>
                <a:gd name="T10" fmla="*/ 16 w 68"/>
                <a:gd name="T11" fmla="*/ 552 h 566"/>
                <a:gd name="T12" fmla="*/ 0 w 68"/>
                <a:gd name="T13" fmla="*/ 508 h 566"/>
                <a:gd name="T14" fmla="*/ 0 w 68"/>
                <a:gd name="T15" fmla="*/ 36 h 566"/>
                <a:gd name="T16" fmla="*/ 0 w 68"/>
                <a:gd name="T17" fmla="*/ 36 h 566"/>
                <a:gd name="T18" fmla="*/ 0 w 68"/>
                <a:gd name="T19" fmla="*/ 30 h 566"/>
                <a:gd name="T20" fmla="*/ 2 w 68"/>
                <a:gd name="T21" fmla="*/ 22 h 566"/>
                <a:gd name="T22" fmla="*/ 6 w 68"/>
                <a:gd name="T23" fmla="*/ 16 h 566"/>
                <a:gd name="T24" fmla="*/ 10 w 68"/>
                <a:gd name="T25" fmla="*/ 12 h 566"/>
                <a:gd name="T26" fmla="*/ 14 w 68"/>
                <a:gd name="T27" fmla="*/ 6 h 566"/>
                <a:gd name="T28" fmla="*/ 20 w 68"/>
                <a:gd name="T29" fmla="*/ 4 h 566"/>
                <a:gd name="T30" fmla="*/ 28 w 68"/>
                <a:gd name="T31" fmla="*/ 2 h 566"/>
                <a:gd name="T32" fmla="*/ 34 w 68"/>
                <a:gd name="T33" fmla="*/ 0 h 566"/>
                <a:gd name="T34" fmla="*/ 34 w 68"/>
                <a:gd name="T35" fmla="*/ 0 h 566"/>
                <a:gd name="T36" fmla="*/ 40 w 68"/>
                <a:gd name="T37" fmla="*/ 2 h 566"/>
                <a:gd name="T38" fmla="*/ 48 w 68"/>
                <a:gd name="T39" fmla="*/ 4 h 566"/>
                <a:gd name="T40" fmla="*/ 52 w 68"/>
                <a:gd name="T41" fmla="*/ 6 h 566"/>
                <a:gd name="T42" fmla="*/ 58 w 68"/>
                <a:gd name="T43" fmla="*/ 12 h 566"/>
                <a:gd name="T44" fmla="*/ 62 w 68"/>
                <a:gd name="T45" fmla="*/ 16 h 566"/>
                <a:gd name="T46" fmla="*/ 66 w 68"/>
                <a:gd name="T47" fmla="*/ 22 h 566"/>
                <a:gd name="T48" fmla="*/ 66 w 68"/>
                <a:gd name="T49" fmla="*/ 30 h 566"/>
                <a:gd name="T50" fmla="*/ 68 w 68"/>
                <a:gd name="T51" fmla="*/ 36 h 566"/>
                <a:gd name="T52" fmla="*/ 68 w 68"/>
                <a:gd name="T53" fmla="*/ 510 h 566"/>
                <a:gd name="T54" fmla="*/ 52 w 68"/>
                <a:gd name="T55" fmla="*/ 552 h 566"/>
                <a:gd name="T56" fmla="*/ 52 w 68"/>
                <a:gd name="T57" fmla="*/ 552 h 566"/>
                <a:gd name="T58" fmla="*/ 50 w 68"/>
                <a:gd name="T59" fmla="*/ 558 h 566"/>
                <a:gd name="T60" fmla="*/ 46 w 68"/>
                <a:gd name="T61" fmla="*/ 562 h 566"/>
                <a:gd name="T62" fmla="*/ 40 w 68"/>
                <a:gd name="T63" fmla="*/ 564 h 566"/>
                <a:gd name="T64" fmla="*/ 34 w 68"/>
                <a:gd name="T65" fmla="*/ 566 h 566"/>
                <a:gd name="T66" fmla="*/ 34 w 68"/>
                <a:gd name="T67" fmla="*/ 566 h 566"/>
                <a:gd name="T68" fmla="*/ 18 w 68"/>
                <a:gd name="T69" fmla="*/ 506 h 566"/>
                <a:gd name="T70" fmla="*/ 32 w 68"/>
                <a:gd name="T71" fmla="*/ 546 h 566"/>
                <a:gd name="T72" fmla="*/ 36 w 68"/>
                <a:gd name="T73" fmla="*/ 546 h 566"/>
                <a:gd name="T74" fmla="*/ 50 w 68"/>
                <a:gd name="T75" fmla="*/ 506 h 566"/>
                <a:gd name="T76" fmla="*/ 50 w 68"/>
                <a:gd name="T77" fmla="*/ 36 h 566"/>
                <a:gd name="T78" fmla="*/ 50 w 68"/>
                <a:gd name="T79" fmla="*/ 36 h 566"/>
                <a:gd name="T80" fmla="*/ 48 w 68"/>
                <a:gd name="T81" fmla="*/ 30 h 566"/>
                <a:gd name="T82" fmla="*/ 46 w 68"/>
                <a:gd name="T83" fmla="*/ 24 h 566"/>
                <a:gd name="T84" fmla="*/ 40 w 68"/>
                <a:gd name="T85" fmla="*/ 20 h 566"/>
                <a:gd name="T86" fmla="*/ 34 w 68"/>
                <a:gd name="T87" fmla="*/ 18 h 566"/>
                <a:gd name="T88" fmla="*/ 34 w 68"/>
                <a:gd name="T89" fmla="*/ 18 h 566"/>
                <a:gd name="T90" fmla="*/ 28 w 68"/>
                <a:gd name="T91" fmla="*/ 20 h 566"/>
                <a:gd name="T92" fmla="*/ 22 w 68"/>
                <a:gd name="T93" fmla="*/ 24 h 566"/>
                <a:gd name="T94" fmla="*/ 20 w 68"/>
                <a:gd name="T95" fmla="*/ 30 h 566"/>
                <a:gd name="T96" fmla="*/ 18 w 68"/>
                <a:gd name="T97" fmla="*/ 36 h 566"/>
                <a:gd name="T98" fmla="*/ 18 w 68"/>
                <a:gd name="T99" fmla="*/ 50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566">
                  <a:moveTo>
                    <a:pt x="34" y="566"/>
                  </a:moveTo>
                  <a:lnTo>
                    <a:pt x="34" y="566"/>
                  </a:lnTo>
                  <a:lnTo>
                    <a:pt x="28" y="564"/>
                  </a:lnTo>
                  <a:lnTo>
                    <a:pt x="22" y="562"/>
                  </a:lnTo>
                  <a:lnTo>
                    <a:pt x="18" y="558"/>
                  </a:lnTo>
                  <a:lnTo>
                    <a:pt x="16" y="552"/>
                  </a:lnTo>
                  <a:lnTo>
                    <a:pt x="0" y="50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0" y="12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0" y="2"/>
                  </a:lnTo>
                  <a:lnTo>
                    <a:pt x="48" y="4"/>
                  </a:lnTo>
                  <a:lnTo>
                    <a:pt x="52" y="6"/>
                  </a:lnTo>
                  <a:lnTo>
                    <a:pt x="58" y="12"/>
                  </a:lnTo>
                  <a:lnTo>
                    <a:pt x="62" y="16"/>
                  </a:lnTo>
                  <a:lnTo>
                    <a:pt x="66" y="22"/>
                  </a:lnTo>
                  <a:lnTo>
                    <a:pt x="66" y="30"/>
                  </a:lnTo>
                  <a:lnTo>
                    <a:pt x="68" y="36"/>
                  </a:lnTo>
                  <a:lnTo>
                    <a:pt x="68" y="510"/>
                  </a:lnTo>
                  <a:lnTo>
                    <a:pt x="52" y="552"/>
                  </a:lnTo>
                  <a:lnTo>
                    <a:pt x="52" y="552"/>
                  </a:lnTo>
                  <a:lnTo>
                    <a:pt x="50" y="558"/>
                  </a:lnTo>
                  <a:lnTo>
                    <a:pt x="46" y="562"/>
                  </a:lnTo>
                  <a:lnTo>
                    <a:pt x="40" y="564"/>
                  </a:lnTo>
                  <a:lnTo>
                    <a:pt x="34" y="566"/>
                  </a:lnTo>
                  <a:lnTo>
                    <a:pt x="34" y="566"/>
                  </a:lnTo>
                  <a:close/>
                  <a:moveTo>
                    <a:pt x="18" y="506"/>
                  </a:moveTo>
                  <a:lnTo>
                    <a:pt x="32" y="546"/>
                  </a:lnTo>
                  <a:lnTo>
                    <a:pt x="36" y="546"/>
                  </a:lnTo>
                  <a:lnTo>
                    <a:pt x="50" y="50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0"/>
                  </a:lnTo>
                  <a:lnTo>
                    <a:pt x="46" y="24"/>
                  </a:lnTo>
                  <a:lnTo>
                    <a:pt x="40" y="20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2" y="24"/>
                  </a:lnTo>
                  <a:lnTo>
                    <a:pt x="20" y="30"/>
                  </a:lnTo>
                  <a:lnTo>
                    <a:pt x="18" y="36"/>
                  </a:lnTo>
                  <a:lnTo>
                    <a:pt x="18" y="506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42">
              <a:extLst>
                <a:ext uri="{FF2B5EF4-FFF2-40B4-BE49-F238E27FC236}">
                  <a16:creationId xmlns:a16="http://schemas.microsoft.com/office/drawing/2014/main" id="{558ED7E4-BDC1-4A78-B858-4B9679DDE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2" y="1001"/>
              <a:ext cx="94" cy="146"/>
            </a:xfrm>
            <a:custGeom>
              <a:avLst/>
              <a:gdLst>
                <a:gd name="T0" fmla="*/ 94 w 94"/>
                <a:gd name="T1" fmla="*/ 146 h 146"/>
                <a:gd name="T2" fmla="*/ 76 w 94"/>
                <a:gd name="T3" fmla="*/ 146 h 146"/>
                <a:gd name="T4" fmla="*/ 76 w 94"/>
                <a:gd name="T5" fmla="*/ 18 h 146"/>
                <a:gd name="T6" fmla="*/ 0 w 94"/>
                <a:gd name="T7" fmla="*/ 18 h 146"/>
                <a:gd name="T8" fmla="*/ 0 w 94"/>
                <a:gd name="T9" fmla="*/ 0 h 146"/>
                <a:gd name="T10" fmla="*/ 94 w 94"/>
                <a:gd name="T11" fmla="*/ 0 h 146"/>
                <a:gd name="T12" fmla="*/ 94 w 94"/>
                <a:gd name="T1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46">
                  <a:moveTo>
                    <a:pt x="94" y="146"/>
                  </a:moveTo>
                  <a:lnTo>
                    <a:pt x="76" y="146"/>
                  </a:lnTo>
                  <a:lnTo>
                    <a:pt x="76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46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3">
              <a:extLst>
                <a:ext uri="{FF2B5EF4-FFF2-40B4-BE49-F238E27FC236}">
                  <a16:creationId xmlns:a16="http://schemas.microsoft.com/office/drawing/2014/main" id="{E44272FA-E660-4540-ADF5-449940B41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" y="1489"/>
              <a:ext cx="18" cy="48"/>
            </a:xfrm>
            <a:custGeom>
              <a:avLst/>
              <a:gdLst>
                <a:gd name="T0" fmla="*/ 10 w 18"/>
                <a:gd name="T1" fmla="*/ 48 h 48"/>
                <a:gd name="T2" fmla="*/ 10 w 18"/>
                <a:gd name="T3" fmla="*/ 48 h 48"/>
                <a:gd name="T4" fmla="*/ 6 w 18"/>
                <a:gd name="T5" fmla="*/ 48 h 48"/>
                <a:gd name="T6" fmla="*/ 4 w 18"/>
                <a:gd name="T7" fmla="*/ 46 h 48"/>
                <a:gd name="T8" fmla="*/ 2 w 18"/>
                <a:gd name="T9" fmla="*/ 42 h 48"/>
                <a:gd name="T10" fmla="*/ 0 w 18"/>
                <a:gd name="T11" fmla="*/ 38 h 48"/>
                <a:gd name="T12" fmla="*/ 0 w 18"/>
                <a:gd name="T13" fmla="*/ 8 h 48"/>
                <a:gd name="T14" fmla="*/ 0 w 18"/>
                <a:gd name="T15" fmla="*/ 8 h 48"/>
                <a:gd name="T16" fmla="*/ 2 w 18"/>
                <a:gd name="T17" fmla="*/ 4 h 48"/>
                <a:gd name="T18" fmla="*/ 4 w 18"/>
                <a:gd name="T19" fmla="*/ 2 h 48"/>
                <a:gd name="T20" fmla="*/ 6 w 18"/>
                <a:gd name="T21" fmla="*/ 0 h 48"/>
                <a:gd name="T22" fmla="*/ 10 w 18"/>
                <a:gd name="T23" fmla="*/ 0 h 48"/>
                <a:gd name="T24" fmla="*/ 10 w 18"/>
                <a:gd name="T25" fmla="*/ 0 h 48"/>
                <a:gd name="T26" fmla="*/ 14 w 18"/>
                <a:gd name="T27" fmla="*/ 0 h 48"/>
                <a:gd name="T28" fmla="*/ 16 w 18"/>
                <a:gd name="T29" fmla="*/ 2 h 48"/>
                <a:gd name="T30" fmla="*/ 18 w 18"/>
                <a:gd name="T31" fmla="*/ 4 h 48"/>
                <a:gd name="T32" fmla="*/ 18 w 18"/>
                <a:gd name="T33" fmla="*/ 8 h 48"/>
                <a:gd name="T34" fmla="*/ 18 w 18"/>
                <a:gd name="T35" fmla="*/ 38 h 48"/>
                <a:gd name="T36" fmla="*/ 18 w 18"/>
                <a:gd name="T37" fmla="*/ 38 h 48"/>
                <a:gd name="T38" fmla="*/ 18 w 18"/>
                <a:gd name="T39" fmla="*/ 42 h 48"/>
                <a:gd name="T40" fmla="*/ 16 w 18"/>
                <a:gd name="T41" fmla="*/ 46 h 48"/>
                <a:gd name="T42" fmla="*/ 14 w 18"/>
                <a:gd name="T43" fmla="*/ 48 h 48"/>
                <a:gd name="T44" fmla="*/ 10 w 18"/>
                <a:gd name="T45" fmla="*/ 48 h 48"/>
                <a:gd name="T46" fmla="*/ 10 w 18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48">
                  <a:moveTo>
                    <a:pt x="10" y="48"/>
                  </a:moveTo>
                  <a:lnTo>
                    <a:pt x="10" y="48"/>
                  </a:lnTo>
                  <a:lnTo>
                    <a:pt x="6" y="48"/>
                  </a:lnTo>
                  <a:lnTo>
                    <a:pt x="4" y="46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4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2"/>
                  </a:lnTo>
                  <a:lnTo>
                    <a:pt x="16" y="46"/>
                  </a:lnTo>
                  <a:lnTo>
                    <a:pt x="14" y="48"/>
                  </a:lnTo>
                  <a:lnTo>
                    <a:pt x="10" y="48"/>
                  </a:lnTo>
                  <a:lnTo>
                    <a:pt x="10" y="4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0" name="Group 42">
            <a:extLst>
              <a:ext uri="{FF2B5EF4-FFF2-40B4-BE49-F238E27FC236}">
                <a16:creationId xmlns:a16="http://schemas.microsoft.com/office/drawing/2014/main" id="{A2DAEDBC-63C3-4086-89F8-28CB185EA0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91953" y="3755949"/>
            <a:ext cx="456288" cy="375642"/>
            <a:chOff x="4375" y="833"/>
            <a:chExt cx="860" cy="708"/>
          </a:xfrm>
          <a:solidFill>
            <a:schemeClr val="bg2"/>
          </a:solidFill>
        </p:grpSpPr>
        <p:sp>
          <p:nvSpPr>
            <p:cNvPr id="91" name="Freeform 43">
              <a:extLst>
                <a:ext uri="{FF2B5EF4-FFF2-40B4-BE49-F238E27FC236}">
                  <a16:creationId xmlns:a16="http://schemas.microsoft.com/office/drawing/2014/main" id="{A9A759E8-152B-4F13-9C72-F11EDA792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5" y="833"/>
              <a:ext cx="860" cy="708"/>
            </a:xfrm>
            <a:custGeom>
              <a:avLst/>
              <a:gdLst>
                <a:gd name="T0" fmla="*/ 860 w 860"/>
                <a:gd name="T1" fmla="*/ 708 h 708"/>
                <a:gd name="T2" fmla="*/ 0 w 860"/>
                <a:gd name="T3" fmla="*/ 708 h 708"/>
                <a:gd name="T4" fmla="*/ 430 w 860"/>
                <a:gd name="T5" fmla="*/ 0 h 708"/>
                <a:gd name="T6" fmla="*/ 860 w 860"/>
                <a:gd name="T7" fmla="*/ 708 h 708"/>
                <a:gd name="T8" fmla="*/ 32 w 860"/>
                <a:gd name="T9" fmla="*/ 690 h 708"/>
                <a:gd name="T10" fmla="*/ 828 w 860"/>
                <a:gd name="T11" fmla="*/ 690 h 708"/>
                <a:gd name="T12" fmla="*/ 430 w 860"/>
                <a:gd name="T13" fmla="*/ 34 h 708"/>
                <a:gd name="T14" fmla="*/ 32 w 860"/>
                <a:gd name="T15" fmla="*/ 69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0" h="708">
                  <a:moveTo>
                    <a:pt x="860" y="708"/>
                  </a:moveTo>
                  <a:lnTo>
                    <a:pt x="0" y="708"/>
                  </a:lnTo>
                  <a:lnTo>
                    <a:pt x="430" y="0"/>
                  </a:lnTo>
                  <a:lnTo>
                    <a:pt x="860" y="708"/>
                  </a:lnTo>
                  <a:close/>
                  <a:moveTo>
                    <a:pt x="32" y="690"/>
                  </a:moveTo>
                  <a:lnTo>
                    <a:pt x="828" y="690"/>
                  </a:lnTo>
                  <a:lnTo>
                    <a:pt x="430" y="34"/>
                  </a:lnTo>
                  <a:lnTo>
                    <a:pt x="32" y="690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5DBBB309-DA50-40BF-9F51-D0EDAD50F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" y="963"/>
              <a:ext cx="618" cy="514"/>
            </a:xfrm>
            <a:custGeom>
              <a:avLst/>
              <a:gdLst>
                <a:gd name="T0" fmla="*/ 618 w 618"/>
                <a:gd name="T1" fmla="*/ 514 h 514"/>
                <a:gd name="T2" fmla="*/ 380 w 618"/>
                <a:gd name="T3" fmla="*/ 514 h 514"/>
                <a:gd name="T4" fmla="*/ 380 w 618"/>
                <a:gd name="T5" fmla="*/ 496 h 514"/>
                <a:gd name="T6" fmla="*/ 588 w 618"/>
                <a:gd name="T7" fmla="*/ 496 h 514"/>
                <a:gd name="T8" fmla="*/ 308 w 618"/>
                <a:gd name="T9" fmla="*/ 36 h 514"/>
                <a:gd name="T10" fmla="*/ 32 w 618"/>
                <a:gd name="T11" fmla="*/ 496 h 514"/>
                <a:gd name="T12" fmla="*/ 240 w 618"/>
                <a:gd name="T13" fmla="*/ 496 h 514"/>
                <a:gd name="T14" fmla="*/ 240 w 618"/>
                <a:gd name="T15" fmla="*/ 514 h 514"/>
                <a:gd name="T16" fmla="*/ 0 w 618"/>
                <a:gd name="T17" fmla="*/ 514 h 514"/>
                <a:gd name="T18" fmla="*/ 308 w 618"/>
                <a:gd name="T19" fmla="*/ 0 h 514"/>
                <a:gd name="T20" fmla="*/ 618 w 618"/>
                <a:gd name="T21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8" h="514">
                  <a:moveTo>
                    <a:pt x="618" y="514"/>
                  </a:moveTo>
                  <a:lnTo>
                    <a:pt x="380" y="514"/>
                  </a:lnTo>
                  <a:lnTo>
                    <a:pt x="380" y="496"/>
                  </a:lnTo>
                  <a:lnTo>
                    <a:pt x="588" y="496"/>
                  </a:lnTo>
                  <a:lnTo>
                    <a:pt x="308" y="36"/>
                  </a:lnTo>
                  <a:lnTo>
                    <a:pt x="32" y="496"/>
                  </a:lnTo>
                  <a:lnTo>
                    <a:pt x="240" y="496"/>
                  </a:lnTo>
                  <a:lnTo>
                    <a:pt x="240" y="514"/>
                  </a:lnTo>
                  <a:lnTo>
                    <a:pt x="0" y="514"/>
                  </a:lnTo>
                  <a:lnTo>
                    <a:pt x="308" y="0"/>
                  </a:lnTo>
                  <a:lnTo>
                    <a:pt x="618" y="514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4EFA9E49-1535-4B4F-81BC-CE789761B1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7" y="1155"/>
              <a:ext cx="96" cy="258"/>
            </a:xfrm>
            <a:custGeom>
              <a:avLst/>
              <a:gdLst>
                <a:gd name="T0" fmla="*/ 56 w 96"/>
                <a:gd name="T1" fmla="*/ 258 h 258"/>
                <a:gd name="T2" fmla="*/ 40 w 96"/>
                <a:gd name="T3" fmla="*/ 258 h 258"/>
                <a:gd name="T4" fmla="*/ 40 w 96"/>
                <a:gd name="T5" fmla="*/ 258 h 258"/>
                <a:gd name="T6" fmla="*/ 30 w 96"/>
                <a:gd name="T7" fmla="*/ 256 h 258"/>
                <a:gd name="T8" fmla="*/ 22 w 96"/>
                <a:gd name="T9" fmla="*/ 252 h 258"/>
                <a:gd name="T10" fmla="*/ 16 w 96"/>
                <a:gd name="T11" fmla="*/ 244 h 258"/>
                <a:gd name="T12" fmla="*/ 14 w 96"/>
                <a:gd name="T13" fmla="*/ 234 h 258"/>
                <a:gd name="T14" fmla="*/ 0 w 96"/>
                <a:gd name="T15" fmla="*/ 28 h 258"/>
                <a:gd name="T16" fmla="*/ 0 w 96"/>
                <a:gd name="T17" fmla="*/ 28 h 258"/>
                <a:gd name="T18" fmla="*/ 2 w 96"/>
                <a:gd name="T19" fmla="*/ 18 h 258"/>
                <a:gd name="T20" fmla="*/ 6 w 96"/>
                <a:gd name="T21" fmla="*/ 8 h 258"/>
                <a:gd name="T22" fmla="*/ 6 w 96"/>
                <a:gd name="T23" fmla="*/ 8 h 258"/>
                <a:gd name="T24" fmla="*/ 16 w 96"/>
                <a:gd name="T25" fmla="*/ 2 h 258"/>
                <a:gd name="T26" fmla="*/ 26 w 96"/>
                <a:gd name="T27" fmla="*/ 0 h 258"/>
                <a:gd name="T28" fmla="*/ 70 w 96"/>
                <a:gd name="T29" fmla="*/ 0 h 258"/>
                <a:gd name="T30" fmla="*/ 70 w 96"/>
                <a:gd name="T31" fmla="*/ 0 h 258"/>
                <a:gd name="T32" fmla="*/ 80 w 96"/>
                <a:gd name="T33" fmla="*/ 2 h 258"/>
                <a:gd name="T34" fmla="*/ 90 w 96"/>
                <a:gd name="T35" fmla="*/ 8 h 258"/>
                <a:gd name="T36" fmla="*/ 90 w 96"/>
                <a:gd name="T37" fmla="*/ 8 h 258"/>
                <a:gd name="T38" fmla="*/ 94 w 96"/>
                <a:gd name="T39" fmla="*/ 18 h 258"/>
                <a:gd name="T40" fmla="*/ 96 w 96"/>
                <a:gd name="T41" fmla="*/ 28 h 258"/>
                <a:gd name="T42" fmla="*/ 82 w 96"/>
                <a:gd name="T43" fmla="*/ 234 h 258"/>
                <a:gd name="T44" fmla="*/ 82 w 96"/>
                <a:gd name="T45" fmla="*/ 234 h 258"/>
                <a:gd name="T46" fmla="*/ 80 w 96"/>
                <a:gd name="T47" fmla="*/ 244 h 258"/>
                <a:gd name="T48" fmla="*/ 74 w 96"/>
                <a:gd name="T49" fmla="*/ 252 h 258"/>
                <a:gd name="T50" fmla="*/ 66 w 96"/>
                <a:gd name="T51" fmla="*/ 256 h 258"/>
                <a:gd name="T52" fmla="*/ 56 w 96"/>
                <a:gd name="T53" fmla="*/ 258 h 258"/>
                <a:gd name="T54" fmla="*/ 56 w 96"/>
                <a:gd name="T55" fmla="*/ 258 h 258"/>
                <a:gd name="T56" fmla="*/ 26 w 96"/>
                <a:gd name="T57" fmla="*/ 18 h 258"/>
                <a:gd name="T58" fmla="*/ 26 w 96"/>
                <a:gd name="T59" fmla="*/ 18 h 258"/>
                <a:gd name="T60" fmla="*/ 22 w 96"/>
                <a:gd name="T61" fmla="*/ 20 h 258"/>
                <a:gd name="T62" fmla="*/ 20 w 96"/>
                <a:gd name="T63" fmla="*/ 20 h 258"/>
                <a:gd name="T64" fmla="*/ 20 w 96"/>
                <a:gd name="T65" fmla="*/ 20 h 258"/>
                <a:gd name="T66" fmla="*/ 18 w 96"/>
                <a:gd name="T67" fmla="*/ 24 h 258"/>
                <a:gd name="T68" fmla="*/ 18 w 96"/>
                <a:gd name="T69" fmla="*/ 26 h 258"/>
                <a:gd name="T70" fmla="*/ 32 w 96"/>
                <a:gd name="T71" fmla="*/ 234 h 258"/>
                <a:gd name="T72" fmla="*/ 32 w 96"/>
                <a:gd name="T73" fmla="*/ 234 h 258"/>
                <a:gd name="T74" fmla="*/ 34 w 96"/>
                <a:gd name="T75" fmla="*/ 238 h 258"/>
                <a:gd name="T76" fmla="*/ 40 w 96"/>
                <a:gd name="T77" fmla="*/ 240 h 258"/>
                <a:gd name="T78" fmla="*/ 56 w 96"/>
                <a:gd name="T79" fmla="*/ 240 h 258"/>
                <a:gd name="T80" fmla="*/ 56 w 96"/>
                <a:gd name="T81" fmla="*/ 240 h 258"/>
                <a:gd name="T82" fmla="*/ 62 w 96"/>
                <a:gd name="T83" fmla="*/ 238 h 258"/>
                <a:gd name="T84" fmla="*/ 64 w 96"/>
                <a:gd name="T85" fmla="*/ 234 h 258"/>
                <a:gd name="T86" fmla="*/ 78 w 96"/>
                <a:gd name="T87" fmla="*/ 26 h 258"/>
                <a:gd name="T88" fmla="*/ 78 w 96"/>
                <a:gd name="T89" fmla="*/ 26 h 258"/>
                <a:gd name="T90" fmla="*/ 78 w 96"/>
                <a:gd name="T91" fmla="*/ 24 h 258"/>
                <a:gd name="T92" fmla="*/ 76 w 96"/>
                <a:gd name="T93" fmla="*/ 20 h 258"/>
                <a:gd name="T94" fmla="*/ 76 w 96"/>
                <a:gd name="T95" fmla="*/ 20 h 258"/>
                <a:gd name="T96" fmla="*/ 74 w 96"/>
                <a:gd name="T97" fmla="*/ 20 h 258"/>
                <a:gd name="T98" fmla="*/ 70 w 96"/>
                <a:gd name="T99" fmla="*/ 18 h 258"/>
                <a:gd name="T100" fmla="*/ 26 w 96"/>
                <a:gd name="T101" fmla="*/ 1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" h="258">
                  <a:moveTo>
                    <a:pt x="56" y="258"/>
                  </a:moveTo>
                  <a:lnTo>
                    <a:pt x="40" y="258"/>
                  </a:lnTo>
                  <a:lnTo>
                    <a:pt x="40" y="258"/>
                  </a:lnTo>
                  <a:lnTo>
                    <a:pt x="30" y="256"/>
                  </a:lnTo>
                  <a:lnTo>
                    <a:pt x="22" y="252"/>
                  </a:lnTo>
                  <a:lnTo>
                    <a:pt x="16" y="244"/>
                  </a:lnTo>
                  <a:lnTo>
                    <a:pt x="14" y="2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18"/>
                  </a:lnTo>
                  <a:lnTo>
                    <a:pt x="6" y="8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80" y="2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4" y="18"/>
                  </a:lnTo>
                  <a:lnTo>
                    <a:pt x="96" y="28"/>
                  </a:lnTo>
                  <a:lnTo>
                    <a:pt x="82" y="234"/>
                  </a:lnTo>
                  <a:lnTo>
                    <a:pt x="82" y="234"/>
                  </a:lnTo>
                  <a:lnTo>
                    <a:pt x="80" y="244"/>
                  </a:lnTo>
                  <a:lnTo>
                    <a:pt x="74" y="252"/>
                  </a:lnTo>
                  <a:lnTo>
                    <a:pt x="66" y="256"/>
                  </a:lnTo>
                  <a:lnTo>
                    <a:pt x="56" y="258"/>
                  </a:lnTo>
                  <a:lnTo>
                    <a:pt x="56" y="258"/>
                  </a:lnTo>
                  <a:close/>
                  <a:moveTo>
                    <a:pt x="26" y="18"/>
                  </a:moveTo>
                  <a:lnTo>
                    <a:pt x="26" y="18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8" y="26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4" y="238"/>
                  </a:lnTo>
                  <a:lnTo>
                    <a:pt x="40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62" y="238"/>
                  </a:lnTo>
                  <a:lnTo>
                    <a:pt x="64" y="234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4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20"/>
                  </a:lnTo>
                  <a:lnTo>
                    <a:pt x="70" y="18"/>
                  </a:lnTo>
                  <a:lnTo>
                    <a:pt x="26" y="1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46">
              <a:extLst>
                <a:ext uri="{FF2B5EF4-FFF2-40B4-BE49-F238E27FC236}">
                  <a16:creationId xmlns:a16="http://schemas.microsoft.com/office/drawing/2014/main" id="{50885477-4B43-4950-AE34-D2039E3CA0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3" y="1427"/>
              <a:ext cx="84" cy="84"/>
            </a:xfrm>
            <a:custGeom>
              <a:avLst/>
              <a:gdLst>
                <a:gd name="T0" fmla="*/ 42 w 84"/>
                <a:gd name="T1" fmla="*/ 84 h 84"/>
                <a:gd name="T2" fmla="*/ 42 w 84"/>
                <a:gd name="T3" fmla="*/ 84 h 84"/>
                <a:gd name="T4" fmla="*/ 34 w 84"/>
                <a:gd name="T5" fmla="*/ 84 h 84"/>
                <a:gd name="T6" fmla="*/ 26 w 84"/>
                <a:gd name="T7" fmla="*/ 80 h 84"/>
                <a:gd name="T8" fmla="*/ 18 w 84"/>
                <a:gd name="T9" fmla="*/ 76 h 84"/>
                <a:gd name="T10" fmla="*/ 12 w 84"/>
                <a:gd name="T11" fmla="*/ 72 h 84"/>
                <a:gd name="T12" fmla="*/ 6 w 84"/>
                <a:gd name="T13" fmla="*/ 66 h 84"/>
                <a:gd name="T14" fmla="*/ 2 w 84"/>
                <a:gd name="T15" fmla="*/ 58 h 84"/>
                <a:gd name="T16" fmla="*/ 0 w 84"/>
                <a:gd name="T17" fmla="*/ 50 h 84"/>
                <a:gd name="T18" fmla="*/ 0 w 84"/>
                <a:gd name="T19" fmla="*/ 42 h 84"/>
                <a:gd name="T20" fmla="*/ 0 w 84"/>
                <a:gd name="T21" fmla="*/ 42 h 84"/>
                <a:gd name="T22" fmla="*/ 0 w 84"/>
                <a:gd name="T23" fmla="*/ 34 h 84"/>
                <a:gd name="T24" fmla="*/ 2 w 84"/>
                <a:gd name="T25" fmla="*/ 26 h 84"/>
                <a:gd name="T26" fmla="*/ 6 w 84"/>
                <a:gd name="T27" fmla="*/ 18 h 84"/>
                <a:gd name="T28" fmla="*/ 12 w 84"/>
                <a:gd name="T29" fmla="*/ 12 h 84"/>
                <a:gd name="T30" fmla="*/ 18 w 84"/>
                <a:gd name="T31" fmla="*/ 6 h 84"/>
                <a:gd name="T32" fmla="*/ 26 w 84"/>
                <a:gd name="T33" fmla="*/ 2 h 84"/>
                <a:gd name="T34" fmla="*/ 34 w 84"/>
                <a:gd name="T35" fmla="*/ 0 h 84"/>
                <a:gd name="T36" fmla="*/ 42 w 84"/>
                <a:gd name="T37" fmla="*/ 0 h 84"/>
                <a:gd name="T38" fmla="*/ 42 w 84"/>
                <a:gd name="T39" fmla="*/ 0 h 84"/>
                <a:gd name="T40" fmla="*/ 50 w 84"/>
                <a:gd name="T41" fmla="*/ 0 h 84"/>
                <a:gd name="T42" fmla="*/ 58 w 84"/>
                <a:gd name="T43" fmla="*/ 2 h 84"/>
                <a:gd name="T44" fmla="*/ 66 w 84"/>
                <a:gd name="T45" fmla="*/ 6 h 84"/>
                <a:gd name="T46" fmla="*/ 72 w 84"/>
                <a:gd name="T47" fmla="*/ 12 h 84"/>
                <a:gd name="T48" fmla="*/ 76 w 84"/>
                <a:gd name="T49" fmla="*/ 18 h 84"/>
                <a:gd name="T50" fmla="*/ 80 w 84"/>
                <a:gd name="T51" fmla="*/ 26 h 84"/>
                <a:gd name="T52" fmla="*/ 84 w 84"/>
                <a:gd name="T53" fmla="*/ 34 h 84"/>
                <a:gd name="T54" fmla="*/ 84 w 84"/>
                <a:gd name="T55" fmla="*/ 42 h 84"/>
                <a:gd name="T56" fmla="*/ 84 w 84"/>
                <a:gd name="T57" fmla="*/ 42 h 84"/>
                <a:gd name="T58" fmla="*/ 84 w 84"/>
                <a:gd name="T59" fmla="*/ 50 h 84"/>
                <a:gd name="T60" fmla="*/ 80 w 84"/>
                <a:gd name="T61" fmla="*/ 58 h 84"/>
                <a:gd name="T62" fmla="*/ 76 w 84"/>
                <a:gd name="T63" fmla="*/ 66 h 84"/>
                <a:gd name="T64" fmla="*/ 72 w 84"/>
                <a:gd name="T65" fmla="*/ 72 h 84"/>
                <a:gd name="T66" fmla="*/ 66 w 84"/>
                <a:gd name="T67" fmla="*/ 76 h 84"/>
                <a:gd name="T68" fmla="*/ 58 w 84"/>
                <a:gd name="T69" fmla="*/ 80 h 84"/>
                <a:gd name="T70" fmla="*/ 50 w 84"/>
                <a:gd name="T71" fmla="*/ 84 h 84"/>
                <a:gd name="T72" fmla="*/ 42 w 84"/>
                <a:gd name="T73" fmla="*/ 84 h 84"/>
                <a:gd name="T74" fmla="*/ 42 w 84"/>
                <a:gd name="T75" fmla="*/ 84 h 84"/>
                <a:gd name="T76" fmla="*/ 42 w 84"/>
                <a:gd name="T77" fmla="*/ 18 h 84"/>
                <a:gd name="T78" fmla="*/ 42 w 84"/>
                <a:gd name="T79" fmla="*/ 18 h 84"/>
                <a:gd name="T80" fmla="*/ 32 w 84"/>
                <a:gd name="T81" fmla="*/ 20 h 84"/>
                <a:gd name="T82" fmla="*/ 24 w 84"/>
                <a:gd name="T83" fmla="*/ 24 h 84"/>
                <a:gd name="T84" fmla="*/ 20 w 84"/>
                <a:gd name="T85" fmla="*/ 32 h 84"/>
                <a:gd name="T86" fmla="*/ 18 w 84"/>
                <a:gd name="T87" fmla="*/ 42 h 84"/>
                <a:gd name="T88" fmla="*/ 18 w 84"/>
                <a:gd name="T89" fmla="*/ 42 h 84"/>
                <a:gd name="T90" fmla="*/ 20 w 84"/>
                <a:gd name="T91" fmla="*/ 52 h 84"/>
                <a:gd name="T92" fmla="*/ 24 w 84"/>
                <a:gd name="T93" fmla="*/ 60 h 84"/>
                <a:gd name="T94" fmla="*/ 32 w 84"/>
                <a:gd name="T95" fmla="*/ 64 h 84"/>
                <a:gd name="T96" fmla="*/ 42 w 84"/>
                <a:gd name="T97" fmla="*/ 66 h 84"/>
                <a:gd name="T98" fmla="*/ 42 w 84"/>
                <a:gd name="T99" fmla="*/ 66 h 84"/>
                <a:gd name="T100" fmla="*/ 52 w 84"/>
                <a:gd name="T101" fmla="*/ 64 h 84"/>
                <a:gd name="T102" fmla="*/ 60 w 84"/>
                <a:gd name="T103" fmla="*/ 60 h 84"/>
                <a:gd name="T104" fmla="*/ 64 w 84"/>
                <a:gd name="T105" fmla="*/ 52 h 84"/>
                <a:gd name="T106" fmla="*/ 66 w 84"/>
                <a:gd name="T107" fmla="*/ 42 h 84"/>
                <a:gd name="T108" fmla="*/ 66 w 84"/>
                <a:gd name="T109" fmla="*/ 42 h 84"/>
                <a:gd name="T110" fmla="*/ 64 w 84"/>
                <a:gd name="T111" fmla="*/ 32 h 84"/>
                <a:gd name="T112" fmla="*/ 60 w 84"/>
                <a:gd name="T113" fmla="*/ 24 h 84"/>
                <a:gd name="T114" fmla="*/ 52 w 84"/>
                <a:gd name="T115" fmla="*/ 20 h 84"/>
                <a:gd name="T116" fmla="*/ 42 w 84"/>
                <a:gd name="T117" fmla="*/ 18 h 84"/>
                <a:gd name="T118" fmla="*/ 42 w 84"/>
                <a:gd name="T119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lnTo>
                    <a:pt x="42" y="84"/>
                  </a:lnTo>
                  <a:lnTo>
                    <a:pt x="34" y="84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50"/>
                  </a:lnTo>
                  <a:lnTo>
                    <a:pt x="80" y="58"/>
                  </a:lnTo>
                  <a:lnTo>
                    <a:pt x="76" y="66"/>
                  </a:lnTo>
                  <a:lnTo>
                    <a:pt x="72" y="72"/>
                  </a:lnTo>
                  <a:lnTo>
                    <a:pt x="66" y="76"/>
                  </a:lnTo>
                  <a:lnTo>
                    <a:pt x="58" y="80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close/>
                  <a:moveTo>
                    <a:pt x="42" y="18"/>
                  </a:moveTo>
                  <a:lnTo>
                    <a:pt x="42" y="18"/>
                  </a:lnTo>
                  <a:lnTo>
                    <a:pt x="32" y="20"/>
                  </a:lnTo>
                  <a:lnTo>
                    <a:pt x="24" y="24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0" y="52"/>
                  </a:lnTo>
                  <a:lnTo>
                    <a:pt x="24" y="60"/>
                  </a:lnTo>
                  <a:lnTo>
                    <a:pt x="3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52" y="64"/>
                  </a:lnTo>
                  <a:lnTo>
                    <a:pt x="60" y="60"/>
                  </a:lnTo>
                  <a:lnTo>
                    <a:pt x="64" y="5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32"/>
                  </a:lnTo>
                  <a:lnTo>
                    <a:pt x="60" y="24"/>
                  </a:lnTo>
                  <a:lnTo>
                    <a:pt x="52" y="20"/>
                  </a:lnTo>
                  <a:lnTo>
                    <a:pt x="42" y="18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7">
              <a:extLst>
                <a:ext uri="{FF2B5EF4-FFF2-40B4-BE49-F238E27FC236}">
                  <a16:creationId xmlns:a16="http://schemas.microsoft.com/office/drawing/2014/main" id="{592899A1-F867-438A-8199-8A1282EFA2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5" y="833"/>
              <a:ext cx="860" cy="708"/>
            </a:xfrm>
            <a:custGeom>
              <a:avLst/>
              <a:gdLst>
                <a:gd name="T0" fmla="*/ 860 w 860"/>
                <a:gd name="T1" fmla="*/ 708 h 708"/>
                <a:gd name="T2" fmla="*/ 0 w 860"/>
                <a:gd name="T3" fmla="*/ 708 h 708"/>
                <a:gd name="T4" fmla="*/ 430 w 860"/>
                <a:gd name="T5" fmla="*/ 0 h 708"/>
                <a:gd name="T6" fmla="*/ 860 w 860"/>
                <a:gd name="T7" fmla="*/ 708 h 708"/>
                <a:gd name="T8" fmla="*/ 32 w 860"/>
                <a:gd name="T9" fmla="*/ 690 h 708"/>
                <a:gd name="T10" fmla="*/ 828 w 860"/>
                <a:gd name="T11" fmla="*/ 690 h 708"/>
                <a:gd name="T12" fmla="*/ 430 w 860"/>
                <a:gd name="T13" fmla="*/ 34 h 708"/>
                <a:gd name="T14" fmla="*/ 32 w 860"/>
                <a:gd name="T15" fmla="*/ 69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0" h="708">
                  <a:moveTo>
                    <a:pt x="860" y="708"/>
                  </a:moveTo>
                  <a:lnTo>
                    <a:pt x="0" y="708"/>
                  </a:lnTo>
                  <a:lnTo>
                    <a:pt x="430" y="0"/>
                  </a:lnTo>
                  <a:lnTo>
                    <a:pt x="860" y="708"/>
                  </a:lnTo>
                  <a:close/>
                  <a:moveTo>
                    <a:pt x="32" y="690"/>
                  </a:moveTo>
                  <a:lnTo>
                    <a:pt x="828" y="690"/>
                  </a:lnTo>
                  <a:lnTo>
                    <a:pt x="430" y="34"/>
                  </a:lnTo>
                  <a:lnTo>
                    <a:pt x="32" y="690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48">
              <a:extLst>
                <a:ext uri="{FF2B5EF4-FFF2-40B4-BE49-F238E27FC236}">
                  <a16:creationId xmlns:a16="http://schemas.microsoft.com/office/drawing/2014/main" id="{9FE7075F-F8BB-4B25-A97C-C5C5E9299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" y="963"/>
              <a:ext cx="618" cy="514"/>
            </a:xfrm>
            <a:custGeom>
              <a:avLst/>
              <a:gdLst>
                <a:gd name="T0" fmla="*/ 618 w 618"/>
                <a:gd name="T1" fmla="*/ 514 h 514"/>
                <a:gd name="T2" fmla="*/ 380 w 618"/>
                <a:gd name="T3" fmla="*/ 514 h 514"/>
                <a:gd name="T4" fmla="*/ 380 w 618"/>
                <a:gd name="T5" fmla="*/ 496 h 514"/>
                <a:gd name="T6" fmla="*/ 588 w 618"/>
                <a:gd name="T7" fmla="*/ 496 h 514"/>
                <a:gd name="T8" fmla="*/ 308 w 618"/>
                <a:gd name="T9" fmla="*/ 36 h 514"/>
                <a:gd name="T10" fmla="*/ 32 w 618"/>
                <a:gd name="T11" fmla="*/ 496 h 514"/>
                <a:gd name="T12" fmla="*/ 240 w 618"/>
                <a:gd name="T13" fmla="*/ 496 h 514"/>
                <a:gd name="T14" fmla="*/ 240 w 618"/>
                <a:gd name="T15" fmla="*/ 514 h 514"/>
                <a:gd name="T16" fmla="*/ 0 w 618"/>
                <a:gd name="T17" fmla="*/ 514 h 514"/>
                <a:gd name="T18" fmla="*/ 308 w 618"/>
                <a:gd name="T19" fmla="*/ 0 h 514"/>
                <a:gd name="T20" fmla="*/ 618 w 618"/>
                <a:gd name="T21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8" h="514">
                  <a:moveTo>
                    <a:pt x="618" y="514"/>
                  </a:moveTo>
                  <a:lnTo>
                    <a:pt x="380" y="514"/>
                  </a:lnTo>
                  <a:lnTo>
                    <a:pt x="380" y="496"/>
                  </a:lnTo>
                  <a:lnTo>
                    <a:pt x="588" y="496"/>
                  </a:lnTo>
                  <a:lnTo>
                    <a:pt x="308" y="36"/>
                  </a:lnTo>
                  <a:lnTo>
                    <a:pt x="32" y="496"/>
                  </a:lnTo>
                  <a:lnTo>
                    <a:pt x="240" y="496"/>
                  </a:lnTo>
                  <a:lnTo>
                    <a:pt x="240" y="514"/>
                  </a:lnTo>
                  <a:lnTo>
                    <a:pt x="0" y="514"/>
                  </a:lnTo>
                  <a:lnTo>
                    <a:pt x="308" y="0"/>
                  </a:lnTo>
                  <a:lnTo>
                    <a:pt x="618" y="514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49">
              <a:extLst>
                <a:ext uri="{FF2B5EF4-FFF2-40B4-BE49-F238E27FC236}">
                  <a16:creationId xmlns:a16="http://schemas.microsoft.com/office/drawing/2014/main" id="{886FC31A-5948-4848-82B8-4D8C1648DF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7" y="1155"/>
              <a:ext cx="96" cy="258"/>
            </a:xfrm>
            <a:custGeom>
              <a:avLst/>
              <a:gdLst>
                <a:gd name="T0" fmla="*/ 56 w 96"/>
                <a:gd name="T1" fmla="*/ 258 h 258"/>
                <a:gd name="T2" fmla="*/ 40 w 96"/>
                <a:gd name="T3" fmla="*/ 258 h 258"/>
                <a:gd name="T4" fmla="*/ 40 w 96"/>
                <a:gd name="T5" fmla="*/ 258 h 258"/>
                <a:gd name="T6" fmla="*/ 30 w 96"/>
                <a:gd name="T7" fmla="*/ 256 h 258"/>
                <a:gd name="T8" fmla="*/ 22 w 96"/>
                <a:gd name="T9" fmla="*/ 252 h 258"/>
                <a:gd name="T10" fmla="*/ 16 w 96"/>
                <a:gd name="T11" fmla="*/ 244 h 258"/>
                <a:gd name="T12" fmla="*/ 14 w 96"/>
                <a:gd name="T13" fmla="*/ 234 h 258"/>
                <a:gd name="T14" fmla="*/ 0 w 96"/>
                <a:gd name="T15" fmla="*/ 28 h 258"/>
                <a:gd name="T16" fmla="*/ 0 w 96"/>
                <a:gd name="T17" fmla="*/ 28 h 258"/>
                <a:gd name="T18" fmla="*/ 2 w 96"/>
                <a:gd name="T19" fmla="*/ 18 h 258"/>
                <a:gd name="T20" fmla="*/ 6 w 96"/>
                <a:gd name="T21" fmla="*/ 8 h 258"/>
                <a:gd name="T22" fmla="*/ 6 w 96"/>
                <a:gd name="T23" fmla="*/ 8 h 258"/>
                <a:gd name="T24" fmla="*/ 16 w 96"/>
                <a:gd name="T25" fmla="*/ 2 h 258"/>
                <a:gd name="T26" fmla="*/ 26 w 96"/>
                <a:gd name="T27" fmla="*/ 0 h 258"/>
                <a:gd name="T28" fmla="*/ 70 w 96"/>
                <a:gd name="T29" fmla="*/ 0 h 258"/>
                <a:gd name="T30" fmla="*/ 70 w 96"/>
                <a:gd name="T31" fmla="*/ 0 h 258"/>
                <a:gd name="T32" fmla="*/ 80 w 96"/>
                <a:gd name="T33" fmla="*/ 2 h 258"/>
                <a:gd name="T34" fmla="*/ 90 w 96"/>
                <a:gd name="T35" fmla="*/ 8 h 258"/>
                <a:gd name="T36" fmla="*/ 90 w 96"/>
                <a:gd name="T37" fmla="*/ 8 h 258"/>
                <a:gd name="T38" fmla="*/ 94 w 96"/>
                <a:gd name="T39" fmla="*/ 18 h 258"/>
                <a:gd name="T40" fmla="*/ 96 w 96"/>
                <a:gd name="T41" fmla="*/ 28 h 258"/>
                <a:gd name="T42" fmla="*/ 82 w 96"/>
                <a:gd name="T43" fmla="*/ 234 h 258"/>
                <a:gd name="T44" fmla="*/ 82 w 96"/>
                <a:gd name="T45" fmla="*/ 234 h 258"/>
                <a:gd name="T46" fmla="*/ 80 w 96"/>
                <a:gd name="T47" fmla="*/ 244 h 258"/>
                <a:gd name="T48" fmla="*/ 74 w 96"/>
                <a:gd name="T49" fmla="*/ 252 h 258"/>
                <a:gd name="T50" fmla="*/ 66 w 96"/>
                <a:gd name="T51" fmla="*/ 256 h 258"/>
                <a:gd name="T52" fmla="*/ 56 w 96"/>
                <a:gd name="T53" fmla="*/ 258 h 258"/>
                <a:gd name="T54" fmla="*/ 56 w 96"/>
                <a:gd name="T55" fmla="*/ 258 h 258"/>
                <a:gd name="T56" fmla="*/ 26 w 96"/>
                <a:gd name="T57" fmla="*/ 18 h 258"/>
                <a:gd name="T58" fmla="*/ 26 w 96"/>
                <a:gd name="T59" fmla="*/ 18 h 258"/>
                <a:gd name="T60" fmla="*/ 22 w 96"/>
                <a:gd name="T61" fmla="*/ 20 h 258"/>
                <a:gd name="T62" fmla="*/ 20 w 96"/>
                <a:gd name="T63" fmla="*/ 20 h 258"/>
                <a:gd name="T64" fmla="*/ 20 w 96"/>
                <a:gd name="T65" fmla="*/ 20 h 258"/>
                <a:gd name="T66" fmla="*/ 18 w 96"/>
                <a:gd name="T67" fmla="*/ 24 h 258"/>
                <a:gd name="T68" fmla="*/ 18 w 96"/>
                <a:gd name="T69" fmla="*/ 26 h 258"/>
                <a:gd name="T70" fmla="*/ 32 w 96"/>
                <a:gd name="T71" fmla="*/ 234 h 258"/>
                <a:gd name="T72" fmla="*/ 32 w 96"/>
                <a:gd name="T73" fmla="*/ 234 h 258"/>
                <a:gd name="T74" fmla="*/ 34 w 96"/>
                <a:gd name="T75" fmla="*/ 238 h 258"/>
                <a:gd name="T76" fmla="*/ 40 w 96"/>
                <a:gd name="T77" fmla="*/ 240 h 258"/>
                <a:gd name="T78" fmla="*/ 56 w 96"/>
                <a:gd name="T79" fmla="*/ 240 h 258"/>
                <a:gd name="T80" fmla="*/ 56 w 96"/>
                <a:gd name="T81" fmla="*/ 240 h 258"/>
                <a:gd name="T82" fmla="*/ 62 w 96"/>
                <a:gd name="T83" fmla="*/ 238 h 258"/>
                <a:gd name="T84" fmla="*/ 64 w 96"/>
                <a:gd name="T85" fmla="*/ 234 h 258"/>
                <a:gd name="T86" fmla="*/ 78 w 96"/>
                <a:gd name="T87" fmla="*/ 26 h 258"/>
                <a:gd name="T88" fmla="*/ 78 w 96"/>
                <a:gd name="T89" fmla="*/ 26 h 258"/>
                <a:gd name="T90" fmla="*/ 78 w 96"/>
                <a:gd name="T91" fmla="*/ 24 h 258"/>
                <a:gd name="T92" fmla="*/ 76 w 96"/>
                <a:gd name="T93" fmla="*/ 20 h 258"/>
                <a:gd name="T94" fmla="*/ 76 w 96"/>
                <a:gd name="T95" fmla="*/ 20 h 258"/>
                <a:gd name="T96" fmla="*/ 74 w 96"/>
                <a:gd name="T97" fmla="*/ 20 h 258"/>
                <a:gd name="T98" fmla="*/ 70 w 96"/>
                <a:gd name="T99" fmla="*/ 18 h 258"/>
                <a:gd name="T100" fmla="*/ 26 w 96"/>
                <a:gd name="T101" fmla="*/ 1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" h="258">
                  <a:moveTo>
                    <a:pt x="56" y="258"/>
                  </a:moveTo>
                  <a:lnTo>
                    <a:pt x="40" y="258"/>
                  </a:lnTo>
                  <a:lnTo>
                    <a:pt x="40" y="258"/>
                  </a:lnTo>
                  <a:lnTo>
                    <a:pt x="30" y="256"/>
                  </a:lnTo>
                  <a:lnTo>
                    <a:pt x="22" y="252"/>
                  </a:lnTo>
                  <a:lnTo>
                    <a:pt x="16" y="244"/>
                  </a:lnTo>
                  <a:lnTo>
                    <a:pt x="14" y="2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18"/>
                  </a:lnTo>
                  <a:lnTo>
                    <a:pt x="6" y="8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80" y="2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4" y="18"/>
                  </a:lnTo>
                  <a:lnTo>
                    <a:pt x="96" y="28"/>
                  </a:lnTo>
                  <a:lnTo>
                    <a:pt x="82" y="234"/>
                  </a:lnTo>
                  <a:lnTo>
                    <a:pt x="82" y="234"/>
                  </a:lnTo>
                  <a:lnTo>
                    <a:pt x="80" y="244"/>
                  </a:lnTo>
                  <a:lnTo>
                    <a:pt x="74" y="252"/>
                  </a:lnTo>
                  <a:lnTo>
                    <a:pt x="66" y="256"/>
                  </a:lnTo>
                  <a:lnTo>
                    <a:pt x="56" y="258"/>
                  </a:lnTo>
                  <a:lnTo>
                    <a:pt x="56" y="258"/>
                  </a:lnTo>
                  <a:close/>
                  <a:moveTo>
                    <a:pt x="26" y="18"/>
                  </a:moveTo>
                  <a:lnTo>
                    <a:pt x="26" y="18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8" y="26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4" y="238"/>
                  </a:lnTo>
                  <a:lnTo>
                    <a:pt x="40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62" y="238"/>
                  </a:lnTo>
                  <a:lnTo>
                    <a:pt x="64" y="234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4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20"/>
                  </a:lnTo>
                  <a:lnTo>
                    <a:pt x="70" y="18"/>
                  </a:lnTo>
                  <a:lnTo>
                    <a:pt x="26" y="1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50">
              <a:extLst>
                <a:ext uri="{FF2B5EF4-FFF2-40B4-BE49-F238E27FC236}">
                  <a16:creationId xmlns:a16="http://schemas.microsoft.com/office/drawing/2014/main" id="{6FF4FAB5-E9EF-468C-8DFC-F8C0B753B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3" y="1427"/>
              <a:ext cx="84" cy="84"/>
            </a:xfrm>
            <a:custGeom>
              <a:avLst/>
              <a:gdLst>
                <a:gd name="T0" fmla="*/ 42 w 84"/>
                <a:gd name="T1" fmla="*/ 84 h 84"/>
                <a:gd name="T2" fmla="*/ 42 w 84"/>
                <a:gd name="T3" fmla="*/ 84 h 84"/>
                <a:gd name="T4" fmla="*/ 34 w 84"/>
                <a:gd name="T5" fmla="*/ 84 h 84"/>
                <a:gd name="T6" fmla="*/ 26 w 84"/>
                <a:gd name="T7" fmla="*/ 80 h 84"/>
                <a:gd name="T8" fmla="*/ 18 w 84"/>
                <a:gd name="T9" fmla="*/ 76 h 84"/>
                <a:gd name="T10" fmla="*/ 12 w 84"/>
                <a:gd name="T11" fmla="*/ 72 h 84"/>
                <a:gd name="T12" fmla="*/ 6 w 84"/>
                <a:gd name="T13" fmla="*/ 66 h 84"/>
                <a:gd name="T14" fmla="*/ 2 w 84"/>
                <a:gd name="T15" fmla="*/ 58 h 84"/>
                <a:gd name="T16" fmla="*/ 0 w 84"/>
                <a:gd name="T17" fmla="*/ 50 h 84"/>
                <a:gd name="T18" fmla="*/ 0 w 84"/>
                <a:gd name="T19" fmla="*/ 42 h 84"/>
                <a:gd name="T20" fmla="*/ 0 w 84"/>
                <a:gd name="T21" fmla="*/ 42 h 84"/>
                <a:gd name="T22" fmla="*/ 0 w 84"/>
                <a:gd name="T23" fmla="*/ 34 h 84"/>
                <a:gd name="T24" fmla="*/ 2 w 84"/>
                <a:gd name="T25" fmla="*/ 26 h 84"/>
                <a:gd name="T26" fmla="*/ 6 w 84"/>
                <a:gd name="T27" fmla="*/ 18 h 84"/>
                <a:gd name="T28" fmla="*/ 12 w 84"/>
                <a:gd name="T29" fmla="*/ 12 h 84"/>
                <a:gd name="T30" fmla="*/ 18 w 84"/>
                <a:gd name="T31" fmla="*/ 6 h 84"/>
                <a:gd name="T32" fmla="*/ 26 w 84"/>
                <a:gd name="T33" fmla="*/ 2 h 84"/>
                <a:gd name="T34" fmla="*/ 34 w 84"/>
                <a:gd name="T35" fmla="*/ 0 h 84"/>
                <a:gd name="T36" fmla="*/ 42 w 84"/>
                <a:gd name="T37" fmla="*/ 0 h 84"/>
                <a:gd name="T38" fmla="*/ 42 w 84"/>
                <a:gd name="T39" fmla="*/ 0 h 84"/>
                <a:gd name="T40" fmla="*/ 50 w 84"/>
                <a:gd name="T41" fmla="*/ 0 h 84"/>
                <a:gd name="T42" fmla="*/ 58 w 84"/>
                <a:gd name="T43" fmla="*/ 2 h 84"/>
                <a:gd name="T44" fmla="*/ 66 w 84"/>
                <a:gd name="T45" fmla="*/ 6 h 84"/>
                <a:gd name="T46" fmla="*/ 72 w 84"/>
                <a:gd name="T47" fmla="*/ 12 h 84"/>
                <a:gd name="T48" fmla="*/ 76 w 84"/>
                <a:gd name="T49" fmla="*/ 18 h 84"/>
                <a:gd name="T50" fmla="*/ 80 w 84"/>
                <a:gd name="T51" fmla="*/ 26 h 84"/>
                <a:gd name="T52" fmla="*/ 84 w 84"/>
                <a:gd name="T53" fmla="*/ 34 h 84"/>
                <a:gd name="T54" fmla="*/ 84 w 84"/>
                <a:gd name="T55" fmla="*/ 42 h 84"/>
                <a:gd name="T56" fmla="*/ 84 w 84"/>
                <a:gd name="T57" fmla="*/ 42 h 84"/>
                <a:gd name="T58" fmla="*/ 84 w 84"/>
                <a:gd name="T59" fmla="*/ 50 h 84"/>
                <a:gd name="T60" fmla="*/ 80 w 84"/>
                <a:gd name="T61" fmla="*/ 58 h 84"/>
                <a:gd name="T62" fmla="*/ 76 w 84"/>
                <a:gd name="T63" fmla="*/ 66 h 84"/>
                <a:gd name="T64" fmla="*/ 72 w 84"/>
                <a:gd name="T65" fmla="*/ 72 h 84"/>
                <a:gd name="T66" fmla="*/ 66 w 84"/>
                <a:gd name="T67" fmla="*/ 76 h 84"/>
                <a:gd name="T68" fmla="*/ 58 w 84"/>
                <a:gd name="T69" fmla="*/ 80 h 84"/>
                <a:gd name="T70" fmla="*/ 50 w 84"/>
                <a:gd name="T71" fmla="*/ 84 h 84"/>
                <a:gd name="T72" fmla="*/ 42 w 84"/>
                <a:gd name="T73" fmla="*/ 84 h 84"/>
                <a:gd name="T74" fmla="*/ 42 w 84"/>
                <a:gd name="T75" fmla="*/ 84 h 84"/>
                <a:gd name="T76" fmla="*/ 42 w 84"/>
                <a:gd name="T77" fmla="*/ 18 h 84"/>
                <a:gd name="T78" fmla="*/ 42 w 84"/>
                <a:gd name="T79" fmla="*/ 18 h 84"/>
                <a:gd name="T80" fmla="*/ 32 w 84"/>
                <a:gd name="T81" fmla="*/ 20 h 84"/>
                <a:gd name="T82" fmla="*/ 24 w 84"/>
                <a:gd name="T83" fmla="*/ 24 h 84"/>
                <a:gd name="T84" fmla="*/ 20 w 84"/>
                <a:gd name="T85" fmla="*/ 32 h 84"/>
                <a:gd name="T86" fmla="*/ 18 w 84"/>
                <a:gd name="T87" fmla="*/ 42 h 84"/>
                <a:gd name="T88" fmla="*/ 18 w 84"/>
                <a:gd name="T89" fmla="*/ 42 h 84"/>
                <a:gd name="T90" fmla="*/ 20 w 84"/>
                <a:gd name="T91" fmla="*/ 52 h 84"/>
                <a:gd name="T92" fmla="*/ 24 w 84"/>
                <a:gd name="T93" fmla="*/ 60 h 84"/>
                <a:gd name="T94" fmla="*/ 32 w 84"/>
                <a:gd name="T95" fmla="*/ 64 h 84"/>
                <a:gd name="T96" fmla="*/ 42 w 84"/>
                <a:gd name="T97" fmla="*/ 66 h 84"/>
                <a:gd name="T98" fmla="*/ 42 w 84"/>
                <a:gd name="T99" fmla="*/ 66 h 84"/>
                <a:gd name="T100" fmla="*/ 52 w 84"/>
                <a:gd name="T101" fmla="*/ 64 h 84"/>
                <a:gd name="T102" fmla="*/ 60 w 84"/>
                <a:gd name="T103" fmla="*/ 60 h 84"/>
                <a:gd name="T104" fmla="*/ 64 w 84"/>
                <a:gd name="T105" fmla="*/ 52 h 84"/>
                <a:gd name="T106" fmla="*/ 66 w 84"/>
                <a:gd name="T107" fmla="*/ 42 h 84"/>
                <a:gd name="T108" fmla="*/ 66 w 84"/>
                <a:gd name="T109" fmla="*/ 42 h 84"/>
                <a:gd name="T110" fmla="*/ 64 w 84"/>
                <a:gd name="T111" fmla="*/ 32 h 84"/>
                <a:gd name="T112" fmla="*/ 60 w 84"/>
                <a:gd name="T113" fmla="*/ 24 h 84"/>
                <a:gd name="T114" fmla="*/ 52 w 84"/>
                <a:gd name="T115" fmla="*/ 20 h 84"/>
                <a:gd name="T116" fmla="*/ 42 w 84"/>
                <a:gd name="T117" fmla="*/ 18 h 84"/>
                <a:gd name="T118" fmla="*/ 42 w 84"/>
                <a:gd name="T119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lnTo>
                    <a:pt x="42" y="84"/>
                  </a:lnTo>
                  <a:lnTo>
                    <a:pt x="34" y="84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50"/>
                  </a:lnTo>
                  <a:lnTo>
                    <a:pt x="80" y="58"/>
                  </a:lnTo>
                  <a:lnTo>
                    <a:pt x="76" y="66"/>
                  </a:lnTo>
                  <a:lnTo>
                    <a:pt x="72" y="72"/>
                  </a:lnTo>
                  <a:lnTo>
                    <a:pt x="66" y="76"/>
                  </a:lnTo>
                  <a:lnTo>
                    <a:pt x="58" y="80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close/>
                  <a:moveTo>
                    <a:pt x="42" y="18"/>
                  </a:moveTo>
                  <a:lnTo>
                    <a:pt x="42" y="18"/>
                  </a:lnTo>
                  <a:lnTo>
                    <a:pt x="32" y="20"/>
                  </a:lnTo>
                  <a:lnTo>
                    <a:pt x="24" y="24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0" y="52"/>
                  </a:lnTo>
                  <a:lnTo>
                    <a:pt x="24" y="60"/>
                  </a:lnTo>
                  <a:lnTo>
                    <a:pt x="3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52" y="64"/>
                  </a:lnTo>
                  <a:lnTo>
                    <a:pt x="60" y="60"/>
                  </a:lnTo>
                  <a:lnTo>
                    <a:pt x="64" y="5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32"/>
                  </a:lnTo>
                  <a:lnTo>
                    <a:pt x="60" y="24"/>
                  </a:lnTo>
                  <a:lnTo>
                    <a:pt x="52" y="20"/>
                  </a:lnTo>
                  <a:lnTo>
                    <a:pt x="42" y="18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3C21C6A0-E57B-4B1B-9033-F2F709A8E4FD}"/>
              </a:ext>
            </a:extLst>
          </p:cNvPr>
          <p:cNvSpPr/>
          <p:nvPr/>
        </p:nvSpPr>
        <p:spPr>
          <a:xfrm>
            <a:off x="4715257" y="4684320"/>
            <a:ext cx="453951" cy="412448"/>
          </a:xfrm>
          <a:custGeom>
            <a:avLst/>
            <a:gdLst>
              <a:gd name="connsiteX0" fmla="*/ 2238419 w 4943324"/>
              <a:gd name="connsiteY0" fmla="*/ 3592246 h 4491384"/>
              <a:gd name="connsiteX1" fmla="*/ 1530693 w 4943324"/>
              <a:gd name="connsiteY1" fmla="*/ 3894008 h 4491384"/>
              <a:gd name="connsiteX2" fmla="*/ 1453885 w 4943324"/>
              <a:gd name="connsiteY2" fmla="*/ 3740389 h 4491384"/>
              <a:gd name="connsiteX3" fmla="*/ 1278301 w 4943324"/>
              <a:gd name="connsiteY3" fmla="*/ 3175289 h 4491384"/>
              <a:gd name="connsiteX4" fmla="*/ 1377036 w 4943324"/>
              <a:gd name="connsiteY4" fmla="*/ 2456581 h 4491384"/>
              <a:gd name="connsiteX5" fmla="*/ 1750092 w 4943324"/>
              <a:gd name="connsiteY5" fmla="*/ 2187737 h 4491384"/>
              <a:gd name="connsiteX6" fmla="*/ 2018936 w 4943324"/>
              <a:gd name="connsiteY6" fmla="*/ 2281001 h 4491384"/>
              <a:gd name="connsiteX7" fmla="*/ 2249364 w 4943324"/>
              <a:gd name="connsiteY7" fmla="*/ 2758308 h 4491384"/>
              <a:gd name="connsiteX8" fmla="*/ 2227435 w 4943324"/>
              <a:gd name="connsiteY8" fmla="*/ 3301472 h 4491384"/>
              <a:gd name="connsiteX9" fmla="*/ 2238419 w 4943324"/>
              <a:gd name="connsiteY9" fmla="*/ 3592251 h 4491384"/>
              <a:gd name="connsiteX10" fmla="*/ 2287788 w 4943324"/>
              <a:gd name="connsiteY10" fmla="*/ 3767791 h 4491384"/>
              <a:gd name="connsiteX11" fmla="*/ 1618447 w 4943324"/>
              <a:gd name="connsiteY11" fmla="*/ 4053094 h 4491384"/>
              <a:gd name="connsiteX12" fmla="*/ 1684272 w 4943324"/>
              <a:gd name="connsiteY12" fmla="*/ 4157345 h 4491384"/>
              <a:gd name="connsiteX13" fmla="*/ 1953115 w 4943324"/>
              <a:gd name="connsiteY13" fmla="*/ 4442648 h 4491384"/>
              <a:gd name="connsiteX14" fmla="*/ 2298768 w 4943324"/>
              <a:gd name="connsiteY14" fmla="*/ 4387768 h 4491384"/>
              <a:gd name="connsiteX15" fmla="*/ 2353648 w 4943324"/>
              <a:gd name="connsiteY15" fmla="*/ 4020179 h 4491384"/>
              <a:gd name="connsiteX16" fmla="*/ 2287785 w 4943324"/>
              <a:gd name="connsiteY16" fmla="*/ 3767785 h 4491384"/>
              <a:gd name="connsiteX17" fmla="*/ 3138190 w 4943324"/>
              <a:gd name="connsiteY17" fmla="*/ 2187708 h 4491384"/>
              <a:gd name="connsiteX18" fmla="*/ 2874852 w 4943324"/>
              <a:gd name="connsiteY18" fmla="*/ 2297426 h 4491384"/>
              <a:gd name="connsiteX19" fmla="*/ 2671865 w 4943324"/>
              <a:gd name="connsiteY19" fmla="*/ 2791183 h 4491384"/>
              <a:gd name="connsiteX20" fmla="*/ 2726745 w 4943324"/>
              <a:gd name="connsiteY20" fmla="*/ 3334346 h 4491384"/>
              <a:gd name="connsiteX21" fmla="*/ 2726745 w 4943324"/>
              <a:gd name="connsiteY21" fmla="*/ 3619649 h 4491384"/>
              <a:gd name="connsiteX22" fmla="*/ 3450969 w 4943324"/>
              <a:gd name="connsiteY22" fmla="*/ 3882986 h 4491384"/>
              <a:gd name="connsiteX23" fmla="*/ 3516794 w 4943324"/>
              <a:gd name="connsiteY23" fmla="*/ 3723900 h 4491384"/>
              <a:gd name="connsiteX24" fmla="*/ 3659431 w 4943324"/>
              <a:gd name="connsiteY24" fmla="*/ 3147818 h 4491384"/>
              <a:gd name="connsiteX25" fmla="*/ 3527747 w 4943324"/>
              <a:gd name="connsiteY25" fmla="*/ 2434576 h 4491384"/>
              <a:gd name="connsiteX26" fmla="*/ 3138193 w 4943324"/>
              <a:gd name="connsiteY26" fmla="*/ 2187698 h 4491384"/>
              <a:gd name="connsiteX27" fmla="*/ 2638917 w 4943324"/>
              <a:gd name="connsiteY27" fmla="*/ 4053084 h 4491384"/>
              <a:gd name="connsiteX28" fmla="*/ 2710252 w 4943324"/>
              <a:gd name="connsiteY28" fmla="*/ 4420673 h 4491384"/>
              <a:gd name="connsiteX29" fmla="*/ 3061382 w 4943324"/>
              <a:gd name="connsiteY29" fmla="*/ 4459096 h 4491384"/>
              <a:gd name="connsiteX30" fmla="*/ 3313776 w 4943324"/>
              <a:gd name="connsiteY30" fmla="*/ 4157334 h 4491384"/>
              <a:gd name="connsiteX31" fmla="*/ 3374128 w 4943324"/>
              <a:gd name="connsiteY31" fmla="*/ 4047616 h 4491384"/>
              <a:gd name="connsiteX32" fmla="*/ 2688289 w 4943324"/>
              <a:gd name="connsiteY32" fmla="*/ 3795222 h 4491384"/>
              <a:gd name="connsiteX33" fmla="*/ 2638920 w 4943324"/>
              <a:gd name="connsiteY33" fmla="*/ 4053083 h 4491384"/>
              <a:gd name="connsiteX34" fmla="*/ 1700763 w 4943324"/>
              <a:gd name="connsiteY34" fmla="*/ 903890 h 4491384"/>
              <a:gd name="connsiteX35" fmla="*/ 2167126 w 4943324"/>
              <a:gd name="connsiteY35" fmla="*/ 903890 h 4491384"/>
              <a:gd name="connsiteX36" fmla="*/ 2167126 w 4943324"/>
              <a:gd name="connsiteY36" fmla="*/ 1600673 h 4491384"/>
              <a:gd name="connsiteX37" fmla="*/ 2293303 w 4943324"/>
              <a:gd name="connsiteY37" fmla="*/ 1726850 h 4491384"/>
              <a:gd name="connsiteX38" fmla="*/ 2660892 w 4943324"/>
              <a:gd name="connsiteY38" fmla="*/ 1726850 h 4491384"/>
              <a:gd name="connsiteX39" fmla="*/ 2787070 w 4943324"/>
              <a:gd name="connsiteY39" fmla="*/ 1600673 h 4491384"/>
              <a:gd name="connsiteX40" fmla="*/ 2787070 w 4943324"/>
              <a:gd name="connsiteY40" fmla="*/ 903890 h 4491384"/>
              <a:gd name="connsiteX41" fmla="*/ 3253433 w 4943324"/>
              <a:gd name="connsiteY41" fmla="*/ 903890 h 4491384"/>
              <a:gd name="connsiteX42" fmla="*/ 3302802 w 4943324"/>
              <a:gd name="connsiteY42" fmla="*/ 788656 h 4491384"/>
              <a:gd name="connsiteX43" fmla="*/ 2523733 w 4943324"/>
              <a:gd name="connsiteY43" fmla="*/ 20580 h 4491384"/>
              <a:gd name="connsiteX44" fmla="*/ 2430469 w 4943324"/>
              <a:gd name="connsiteY44" fmla="*/ 20580 h 4491384"/>
              <a:gd name="connsiteX45" fmla="*/ 1656877 w 4943324"/>
              <a:gd name="connsiteY45" fmla="*/ 788656 h 4491384"/>
              <a:gd name="connsiteX46" fmla="*/ 1700773 w 4943324"/>
              <a:gd name="connsiteY46" fmla="*/ 903890 h 4491384"/>
              <a:gd name="connsiteX47" fmla="*/ 4943225 w 4943324"/>
              <a:gd name="connsiteY47" fmla="*/ 651535 h 4491384"/>
              <a:gd name="connsiteX48" fmla="*/ 4877400 w 4943324"/>
              <a:gd name="connsiteY48" fmla="*/ 585710 h 4491384"/>
              <a:gd name="connsiteX49" fmla="*/ 3785606 w 4943324"/>
              <a:gd name="connsiteY49" fmla="*/ 580200 h 4491384"/>
              <a:gd name="connsiteX50" fmla="*/ 3736237 w 4943324"/>
              <a:gd name="connsiteY50" fmla="*/ 695434 h 4491384"/>
              <a:gd name="connsiteX51" fmla="*/ 4065441 w 4943324"/>
              <a:gd name="connsiteY51" fmla="*/ 1024637 h 4491384"/>
              <a:gd name="connsiteX52" fmla="*/ 3571685 w 4943324"/>
              <a:gd name="connsiteY52" fmla="*/ 1518394 h 4491384"/>
              <a:gd name="connsiteX53" fmla="*/ 3571685 w 4943324"/>
              <a:gd name="connsiteY53" fmla="*/ 1693978 h 4491384"/>
              <a:gd name="connsiteX54" fmla="*/ 3829546 w 4943324"/>
              <a:gd name="connsiteY54" fmla="*/ 1951839 h 4491384"/>
              <a:gd name="connsiteX55" fmla="*/ 4005130 w 4943324"/>
              <a:gd name="connsiteY55" fmla="*/ 1951839 h 4491384"/>
              <a:gd name="connsiteX56" fmla="*/ 4498887 w 4943324"/>
              <a:gd name="connsiteY56" fmla="*/ 1458082 h 4491384"/>
              <a:gd name="connsiteX57" fmla="*/ 4828090 w 4943324"/>
              <a:gd name="connsiteY57" fmla="*/ 1787286 h 4491384"/>
              <a:gd name="connsiteX58" fmla="*/ 4943324 w 4943324"/>
              <a:gd name="connsiteY58" fmla="*/ 1743390 h 4491384"/>
              <a:gd name="connsiteX59" fmla="*/ 1371578 w 4943324"/>
              <a:gd name="connsiteY59" fmla="*/ 1512881 h 4491384"/>
              <a:gd name="connsiteX60" fmla="*/ 877822 w 4943324"/>
              <a:gd name="connsiteY60" fmla="*/ 1019124 h 4491384"/>
              <a:gd name="connsiteX61" fmla="*/ 1207026 w 4943324"/>
              <a:gd name="connsiteY61" fmla="*/ 689921 h 4491384"/>
              <a:gd name="connsiteX62" fmla="*/ 1163130 w 4943324"/>
              <a:gd name="connsiteY62" fmla="*/ 574687 h 4491384"/>
              <a:gd name="connsiteX63" fmla="*/ 71336 w 4943324"/>
              <a:gd name="connsiteY63" fmla="*/ 574687 h 4491384"/>
              <a:gd name="connsiteX64" fmla="*/ 5511 w 4943324"/>
              <a:gd name="connsiteY64" fmla="*/ 640512 h 4491384"/>
              <a:gd name="connsiteX65" fmla="*/ 0 w 4943324"/>
              <a:gd name="connsiteY65" fmla="*/ 1732403 h 4491384"/>
              <a:gd name="connsiteX66" fmla="*/ 115234 w 4943324"/>
              <a:gd name="connsiteY66" fmla="*/ 1781772 h 4491384"/>
              <a:gd name="connsiteX67" fmla="*/ 444438 w 4943324"/>
              <a:gd name="connsiteY67" fmla="*/ 1452568 h 4491384"/>
              <a:gd name="connsiteX68" fmla="*/ 938194 w 4943324"/>
              <a:gd name="connsiteY68" fmla="*/ 1946325 h 4491384"/>
              <a:gd name="connsiteX69" fmla="*/ 1113778 w 4943324"/>
              <a:gd name="connsiteY69" fmla="*/ 1946325 h 4491384"/>
              <a:gd name="connsiteX70" fmla="*/ 1371639 w 4943324"/>
              <a:gd name="connsiteY70" fmla="*/ 1688464 h 4491384"/>
              <a:gd name="connsiteX71" fmla="*/ 1371601 w 4943324"/>
              <a:gd name="connsiteY71" fmla="*/ 1512919 h 4491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4943324" h="4491384">
                <a:moveTo>
                  <a:pt x="2238419" y="3592246"/>
                </a:moveTo>
                <a:lnTo>
                  <a:pt x="1530693" y="3894008"/>
                </a:lnTo>
                <a:cubicBezTo>
                  <a:pt x="1503253" y="3844639"/>
                  <a:pt x="1481324" y="3789757"/>
                  <a:pt x="1453885" y="3740389"/>
                </a:cubicBezTo>
                <a:cubicBezTo>
                  <a:pt x="1366094" y="3559337"/>
                  <a:pt x="1311249" y="3350834"/>
                  <a:pt x="1278301" y="3175289"/>
                </a:cubicBezTo>
                <a:cubicBezTo>
                  <a:pt x="1245388" y="2999705"/>
                  <a:pt x="1250861" y="2670541"/>
                  <a:pt x="1377036" y="2456581"/>
                </a:cubicBezTo>
                <a:cubicBezTo>
                  <a:pt x="1459317" y="2319421"/>
                  <a:pt x="1591006" y="2198720"/>
                  <a:pt x="1750092" y="2187737"/>
                </a:cubicBezTo>
                <a:cubicBezTo>
                  <a:pt x="1848828" y="2182265"/>
                  <a:pt x="1942136" y="2220650"/>
                  <a:pt x="2018936" y="2281001"/>
                </a:cubicBezTo>
                <a:cubicBezTo>
                  <a:pt x="2161572" y="2396235"/>
                  <a:pt x="2232905" y="2577247"/>
                  <a:pt x="2249364" y="2758308"/>
                </a:cubicBezTo>
                <a:cubicBezTo>
                  <a:pt x="2265820" y="2939360"/>
                  <a:pt x="2254837" y="3125897"/>
                  <a:pt x="2227435" y="3301472"/>
                </a:cubicBezTo>
                <a:cubicBezTo>
                  <a:pt x="2210979" y="3394736"/>
                  <a:pt x="2216452" y="3477017"/>
                  <a:pt x="2238419" y="3592251"/>
                </a:cubicBezTo>
                <a:close/>
                <a:moveTo>
                  <a:pt x="2287788" y="3767791"/>
                </a:moveTo>
                <a:lnTo>
                  <a:pt x="1618447" y="4053094"/>
                </a:lnTo>
                <a:cubicBezTo>
                  <a:pt x="1640376" y="4091517"/>
                  <a:pt x="1662343" y="4124429"/>
                  <a:pt x="1684272" y="4157345"/>
                </a:cubicBezTo>
                <a:cubicBezTo>
                  <a:pt x="1766552" y="4283523"/>
                  <a:pt x="1848874" y="4393241"/>
                  <a:pt x="1953115" y="4442648"/>
                </a:cubicBezTo>
                <a:cubicBezTo>
                  <a:pt x="2057367" y="4492017"/>
                  <a:pt x="2227435" y="4464577"/>
                  <a:pt x="2298768" y="4387768"/>
                </a:cubicBezTo>
                <a:cubicBezTo>
                  <a:pt x="2392032" y="4283517"/>
                  <a:pt x="2375576" y="4146357"/>
                  <a:pt x="2353648" y="4020179"/>
                </a:cubicBezTo>
                <a:cubicBezTo>
                  <a:pt x="2331681" y="3926915"/>
                  <a:pt x="2309752" y="3850071"/>
                  <a:pt x="2287785" y="3767785"/>
                </a:cubicBezTo>
                <a:close/>
                <a:moveTo>
                  <a:pt x="3138190" y="2187708"/>
                </a:moveTo>
                <a:cubicBezTo>
                  <a:pt x="3039454" y="2187708"/>
                  <a:pt x="2946146" y="2231604"/>
                  <a:pt x="2874852" y="2297426"/>
                </a:cubicBezTo>
                <a:cubicBezTo>
                  <a:pt x="2737692" y="2418127"/>
                  <a:pt x="2677342" y="2604655"/>
                  <a:pt x="2671865" y="2791183"/>
                </a:cubicBezTo>
                <a:cubicBezTo>
                  <a:pt x="2660882" y="2972234"/>
                  <a:pt x="2682849" y="3158772"/>
                  <a:pt x="2726745" y="3334346"/>
                </a:cubicBezTo>
                <a:cubicBezTo>
                  <a:pt x="2748674" y="3422137"/>
                  <a:pt x="2748674" y="3504415"/>
                  <a:pt x="2726745" y="3619649"/>
                </a:cubicBezTo>
                <a:lnTo>
                  <a:pt x="3450969" y="3882986"/>
                </a:lnTo>
                <a:cubicBezTo>
                  <a:pt x="3472898" y="3828106"/>
                  <a:pt x="3494865" y="3778735"/>
                  <a:pt x="3516794" y="3723900"/>
                </a:cubicBezTo>
                <a:cubicBezTo>
                  <a:pt x="3593602" y="3537372"/>
                  <a:pt x="3637495" y="3328879"/>
                  <a:pt x="3659431" y="3147818"/>
                </a:cubicBezTo>
                <a:cubicBezTo>
                  <a:pt x="3681360" y="2966767"/>
                  <a:pt x="3659431" y="2643070"/>
                  <a:pt x="3527747" y="2434576"/>
                </a:cubicBezTo>
                <a:cubicBezTo>
                  <a:pt x="3439956" y="2297456"/>
                  <a:pt x="3297289" y="2187698"/>
                  <a:pt x="3138193" y="2187698"/>
                </a:cubicBezTo>
                <a:close/>
                <a:moveTo>
                  <a:pt x="2638917" y="4053084"/>
                </a:moveTo>
                <a:cubicBezTo>
                  <a:pt x="2622461" y="4179261"/>
                  <a:pt x="2611477" y="4316422"/>
                  <a:pt x="2710252" y="4420673"/>
                </a:cubicBezTo>
                <a:cubicBezTo>
                  <a:pt x="2787060" y="4497481"/>
                  <a:pt x="2962646" y="4513937"/>
                  <a:pt x="3061382" y="4459096"/>
                </a:cubicBezTo>
                <a:cubicBezTo>
                  <a:pt x="3160117" y="4404217"/>
                  <a:pt x="3231450" y="4289028"/>
                  <a:pt x="3313776" y="4157334"/>
                </a:cubicBezTo>
                <a:cubicBezTo>
                  <a:pt x="3335705" y="4124422"/>
                  <a:pt x="3352199" y="4086000"/>
                  <a:pt x="3374128" y="4047616"/>
                </a:cubicBezTo>
                <a:lnTo>
                  <a:pt x="2688289" y="3795222"/>
                </a:lnTo>
                <a:cubicBezTo>
                  <a:pt x="2666360" y="3877503"/>
                  <a:pt x="2649904" y="3954308"/>
                  <a:pt x="2638920" y="4053083"/>
                </a:cubicBezTo>
                <a:close/>
                <a:moveTo>
                  <a:pt x="1700763" y="903890"/>
                </a:moveTo>
                <a:lnTo>
                  <a:pt x="2167126" y="903890"/>
                </a:lnTo>
                <a:lnTo>
                  <a:pt x="2167126" y="1600673"/>
                </a:lnTo>
                <a:cubicBezTo>
                  <a:pt x="2167126" y="1666498"/>
                  <a:pt x="2222006" y="1726850"/>
                  <a:pt x="2293303" y="1726850"/>
                </a:cubicBezTo>
                <a:lnTo>
                  <a:pt x="2660892" y="1726850"/>
                </a:lnTo>
                <a:cubicBezTo>
                  <a:pt x="2726717" y="1726850"/>
                  <a:pt x="2787070" y="1671971"/>
                  <a:pt x="2787070" y="1600673"/>
                </a:cubicBezTo>
                <a:lnTo>
                  <a:pt x="2787070" y="903890"/>
                </a:lnTo>
                <a:lnTo>
                  <a:pt x="3253433" y="903890"/>
                </a:lnTo>
                <a:cubicBezTo>
                  <a:pt x="3313786" y="903890"/>
                  <a:pt x="3341225" y="832555"/>
                  <a:pt x="3302802" y="788656"/>
                </a:cubicBezTo>
                <a:lnTo>
                  <a:pt x="2523733" y="20580"/>
                </a:lnTo>
                <a:cubicBezTo>
                  <a:pt x="2496293" y="-6860"/>
                  <a:pt x="2457908" y="-6860"/>
                  <a:pt x="2430469" y="20580"/>
                </a:cubicBezTo>
                <a:lnTo>
                  <a:pt x="1656877" y="788656"/>
                </a:lnTo>
                <a:cubicBezTo>
                  <a:pt x="1612981" y="832552"/>
                  <a:pt x="1640421" y="903890"/>
                  <a:pt x="1700773" y="903890"/>
                </a:cubicBezTo>
                <a:close/>
                <a:moveTo>
                  <a:pt x="4943225" y="651535"/>
                </a:moveTo>
                <a:cubicBezTo>
                  <a:pt x="4943225" y="613112"/>
                  <a:pt x="4915785" y="585710"/>
                  <a:pt x="4877400" y="585710"/>
                </a:cubicBezTo>
                <a:lnTo>
                  <a:pt x="3785606" y="580200"/>
                </a:lnTo>
                <a:cubicBezTo>
                  <a:pt x="3725254" y="580200"/>
                  <a:pt x="3697815" y="651535"/>
                  <a:pt x="3736237" y="695434"/>
                </a:cubicBezTo>
                <a:lnTo>
                  <a:pt x="4065441" y="1024637"/>
                </a:lnTo>
                <a:lnTo>
                  <a:pt x="3571685" y="1518394"/>
                </a:lnTo>
                <a:cubicBezTo>
                  <a:pt x="3522316" y="1567762"/>
                  <a:pt x="3522316" y="1644571"/>
                  <a:pt x="3571685" y="1693978"/>
                </a:cubicBezTo>
                <a:lnTo>
                  <a:pt x="3829546" y="1951839"/>
                </a:lnTo>
                <a:cubicBezTo>
                  <a:pt x="3878914" y="2001208"/>
                  <a:pt x="3955723" y="2001208"/>
                  <a:pt x="4005130" y="1951839"/>
                </a:cubicBezTo>
                <a:lnTo>
                  <a:pt x="4498887" y="1458082"/>
                </a:lnTo>
                <a:lnTo>
                  <a:pt x="4828090" y="1787286"/>
                </a:lnTo>
                <a:cubicBezTo>
                  <a:pt x="4871986" y="1831182"/>
                  <a:pt x="4943324" y="1798270"/>
                  <a:pt x="4943324" y="1743390"/>
                </a:cubicBezTo>
                <a:close/>
                <a:moveTo>
                  <a:pt x="1371578" y="1512881"/>
                </a:moveTo>
                <a:lnTo>
                  <a:pt x="877822" y="1019124"/>
                </a:lnTo>
                <a:lnTo>
                  <a:pt x="1207026" y="689921"/>
                </a:lnTo>
                <a:cubicBezTo>
                  <a:pt x="1250922" y="646025"/>
                  <a:pt x="1218009" y="574687"/>
                  <a:pt x="1163130" y="574687"/>
                </a:cubicBezTo>
                <a:lnTo>
                  <a:pt x="71336" y="574687"/>
                </a:lnTo>
                <a:cubicBezTo>
                  <a:pt x="32913" y="574687"/>
                  <a:pt x="5511" y="602127"/>
                  <a:pt x="5511" y="640512"/>
                </a:cubicBezTo>
                <a:lnTo>
                  <a:pt x="0" y="1732403"/>
                </a:lnTo>
                <a:cubicBezTo>
                  <a:pt x="0" y="1792756"/>
                  <a:pt x="71335" y="1820195"/>
                  <a:pt x="115234" y="1781772"/>
                </a:cubicBezTo>
                <a:lnTo>
                  <a:pt x="444438" y="1452568"/>
                </a:lnTo>
                <a:lnTo>
                  <a:pt x="938194" y="1946325"/>
                </a:lnTo>
                <a:cubicBezTo>
                  <a:pt x="987563" y="1995694"/>
                  <a:pt x="1064371" y="1995694"/>
                  <a:pt x="1113778" y="1946325"/>
                </a:cubicBezTo>
                <a:lnTo>
                  <a:pt x="1371639" y="1688464"/>
                </a:lnTo>
                <a:cubicBezTo>
                  <a:pt x="1415497" y="1639095"/>
                  <a:pt x="1420970" y="1556810"/>
                  <a:pt x="1371601" y="1512919"/>
                </a:cubicBezTo>
                <a:close/>
              </a:path>
            </a:pathLst>
          </a:custGeom>
          <a:solidFill>
            <a:schemeClr val="bg2"/>
          </a:solidFill>
          <a:ln w="9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491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D39502-BD75-4857-888B-B119F627A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B7459-A9BE-4170-99AC-3DBF94476C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dirty="0" smtClean="0"/>
              <a:pPr/>
              <a:t>3</a:t>
            </a:fld>
            <a:endParaRPr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D2BD91D5-89B5-44ED-94D1-7D6E44003D59}"/>
              </a:ext>
            </a:extLst>
          </p:cNvPr>
          <p:cNvSpPr/>
          <p:nvPr/>
        </p:nvSpPr>
        <p:spPr>
          <a:xfrm>
            <a:off x="0" y="3081337"/>
            <a:ext cx="6638925" cy="695325"/>
          </a:xfrm>
          <a:prstGeom prst="homePlate">
            <a:avLst/>
          </a:prstGeom>
          <a:solidFill>
            <a:srgbClr val="1CD0F4"/>
          </a:solidFill>
          <a:ln w="9525">
            <a:solidFill>
              <a:srgbClr val="1CD0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 and Overview</a:t>
            </a:r>
          </a:p>
        </p:txBody>
      </p:sp>
    </p:spTree>
    <p:extLst>
      <p:ext uri="{BB962C8B-B14F-4D97-AF65-F5344CB8AC3E}">
        <p14:creationId xmlns:p14="http://schemas.microsoft.com/office/powerpoint/2010/main" val="3180656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extBox 84">
            <a:extLst>
              <a:ext uri="{FF2B5EF4-FFF2-40B4-BE49-F238E27FC236}">
                <a16:creationId xmlns:a16="http://schemas.microsoft.com/office/drawing/2014/main" id="{66FEC835-F786-49DA-B93E-E028E19657C9}"/>
              </a:ext>
            </a:extLst>
          </p:cNvPr>
          <p:cNvSpPr txBox="1"/>
          <p:nvPr/>
        </p:nvSpPr>
        <p:spPr>
          <a:xfrm>
            <a:off x="6156842" y="4597579"/>
            <a:ext cx="1002124" cy="290900"/>
          </a:xfrm>
          <a:prstGeom prst="roundRect">
            <a:avLst>
              <a:gd name="adj" fmla="val 26882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E1AF22F-E4EA-4B45-89DB-88EB70271E0D}"/>
              </a:ext>
            </a:extLst>
          </p:cNvPr>
          <p:cNvSpPr txBox="1"/>
          <p:nvPr/>
        </p:nvSpPr>
        <p:spPr>
          <a:xfrm>
            <a:off x="5062167" y="4600950"/>
            <a:ext cx="1002123" cy="284158"/>
          </a:xfrm>
          <a:prstGeom prst="roundRect">
            <a:avLst>
              <a:gd name="adj" fmla="val 22438"/>
            </a:avLst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amlit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CS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B608FE3-79B3-4B02-BAC1-F6F58284E8AB}"/>
              </a:ext>
            </a:extLst>
          </p:cNvPr>
          <p:cNvSpPr/>
          <p:nvPr/>
        </p:nvSpPr>
        <p:spPr>
          <a:xfrm>
            <a:off x="8051193" y="2082089"/>
            <a:ext cx="3522703" cy="3046700"/>
          </a:xfrm>
          <a:prstGeom prst="rect">
            <a:avLst/>
          </a:prstGeom>
          <a:solidFill>
            <a:srgbClr val="FFFFFF">
              <a:alpha val="8000"/>
            </a:srgbClr>
          </a:solidFill>
          <a:ln w="9525"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rgbClr val="1CD0F4"/>
                </a:solidFill>
                <a:latin typeface="Arial" panose="020B0604020202020204" pitchFamily="34" charset="0"/>
              </a:rPr>
              <a:t>BlockWager </a:t>
            </a:r>
            <a:r>
              <a:rPr lang="en-IN" dirty="0">
                <a:latin typeface="Arial" panose="020B0604020202020204" pitchFamily="34" charset="0"/>
              </a:rPr>
              <a:t>- Intro and Overview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B3D9856-991D-496E-82F7-7D896FF44169}"/>
              </a:ext>
            </a:extLst>
          </p:cNvPr>
          <p:cNvSpPr txBox="1"/>
          <p:nvPr/>
        </p:nvSpPr>
        <p:spPr>
          <a:xfrm>
            <a:off x="5062167" y="2124350"/>
            <a:ext cx="2101008" cy="362881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 Use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FF8D2AA-41AA-4C86-A7D6-37CA9F1A2847}"/>
              </a:ext>
            </a:extLst>
          </p:cNvPr>
          <p:cNvSpPr txBox="1"/>
          <p:nvPr/>
        </p:nvSpPr>
        <p:spPr>
          <a:xfrm>
            <a:off x="5062167" y="2554728"/>
            <a:ext cx="2101008" cy="274174"/>
          </a:xfrm>
          <a:prstGeom prst="rect">
            <a:avLst/>
          </a:prstGeom>
          <a:solidFill>
            <a:srgbClr val="1CD0F4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nTech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02AF04D-D776-474B-94C9-54FB463C268A}"/>
              </a:ext>
            </a:extLst>
          </p:cNvPr>
          <p:cNvSpPr txBox="1"/>
          <p:nvPr/>
        </p:nvSpPr>
        <p:spPr>
          <a:xfrm>
            <a:off x="5062167" y="2900967"/>
            <a:ext cx="1002123" cy="257914"/>
          </a:xfrm>
          <a:prstGeom prst="roundRect">
            <a:avLst>
              <a:gd name="adj" fmla="val 22438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ds Scrap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29451BF-3707-4764-BB0C-1FE645B9A137}"/>
              </a:ext>
            </a:extLst>
          </p:cNvPr>
          <p:cNvSpPr txBox="1"/>
          <p:nvPr/>
        </p:nvSpPr>
        <p:spPr>
          <a:xfrm>
            <a:off x="6161051" y="2896399"/>
            <a:ext cx="1002124" cy="257914"/>
          </a:xfrm>
          <a:prstGeom prst="roundRect">
            <a:avLst>
              <a:gd name="adj" fmla="val 26882"/>
            </a:avLst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mbling Economics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1E1523CD-A3D8-4DFB-94EE-9762671637B4}"/>
              </a:ext>
            </a:extLst>
          </p:cNvPr>
          <p:cNvSpPr/>
          <p:nvPr/>
        </p:nvSpPr>
        <p:spPr>
          <a:xfrm>
            <a:off x="6023171" y="2948232"/>
            <a:ext cx="205633" cy="205633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01505F0-6634-451A-AD0E-60AC3FCF2EE6}"/>
              </a:ext>
            </a:extLst>
          </p:cNvPr>
          <p:cNvSpPr txBox="1"/>
          <p:nvPr/>
        </p:nvSpPr>
        <p:spPr>
          <a:xfrm>
            <a:off x="5062167" y="3221810"/>
            <a:ext cx="2101008" cy="274174"/>
          </a:xfrm>
          <a:prstGeom prst="rect">
            <a:avLst/>
          </a:prstGeom>
          <a:solidFill>
            <a:srgbClr val="1CD0F4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Web3 and Blockchai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4C770A4-9873-4612-9E6E-BD90E396AED6}"/>
              </a:ext>
            </a:extLst>
          </p:cNvPr>
          <p:cNvSpPr txBox="1"/>
          <p:nvPr/>
        </p:nvSpPr>
        <p:spPr>
          <a:xfrm>
            <a:off x="5062167" y="3563369"/>
            <a:ext cx="1002123" cy="294362"/>
          </a:xfrm>
          <a:prstGeom prst="roundRect">
            <a:avLst>
              <a:gd name="adj" fmla="val 22438"/>
            </a:avLst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 Contracts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98A8ABC-D34F-4675-8FC3-F52A5F8A98C4}"/>
              </a:ext>
            </a:extLst>
          </p:cNvPr>
          <p:cNvSpPr txBox="1"/>
          <p:nvPr/>
        </p:nvSpPr>
        <p:spPr>
          <a:xfrm>
            <a:off x="6161051" y="3563481"/>
            <a:ext cx="1002124" cy="294361"/>
          </a:xfrm>
          <a:prstGeom prst="roundRect">
            <a:avLst>
              <a:gd name="adj" fmla="val 26882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ation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BC3DDBE-1DD9-47A3-BB64-C3917F550844}"/>
              </a:ext>
            </a:extLst>
          </p:cNvPr>
          <p:cNvSpPr/>
          <p:nvPr/>
        </p:nvSpPr>
        <p:spPr>
          <a:xfrm>
            <a:off x="6023171" y="3605439"/>
            <a:ext cx="205633" cy="205633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52908EB-4D2B-4A6A-AD63-EC4D7A8FB7FF}"/>
              </a:ext>
            </a:extLst>
          </p:cNvPr>
          <p:cNvSpPr txBox="1"/>
          <p:nvPr/>
        </p:nvSpPr>
        <p:spPr>
          <a:xfrm>
            <a:off x="5062167" y="3925339"/>
            <a:ext cx="2101008" cy="274174"/>
          </a:xfrm>
          <a:prstGeom prst="rect">
            <a:avLst/>
          </a:prstGeom>
          <a:solidFill>
            <a:srgbClr val="1CD0F4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Coding Languag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F8216A5-88CC-470B-B3A2-A61E777F1C65}"/>
              </a:ext>
            </a:extLst>
          </p:cNvPr>
          <p:cNvSpPr txBox="1"/>
          <p:nvPr/>
        </p:nvSpPr>
        <p:spPr>
          <a:xfrm>
            <a:off x="5062167" y="4271467"/>
            <a:ext cx="1002123" cy="284158"/>
          </a:xfrm>
          <a:prstGeom prst="roundRect">
            <a:avLst>
              <a:gd name="adj" fmla="val 22438"/>
            </a:avLst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E25E6B6-AD2D-4086-8773-56C9B20DBF15}"/>
              </a:ext>
            </a:extLst>
          </p:cNvPr>
          <p:cNvSpPr txBox="1"/>
          <p:nvPr/>
        </p:nvSpPr>
        <p:spPr>
          <a:xfrm>
            <a:off x="6161051" y="4267010"/>
            <a:ext cx="1002124" cy="290900"/>
          </a:xfrm>
          <a:prstGeom prst="roundRect">
            <a:avLst>
              <a:gd name="adj" fmla="val 26882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idity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E75D19CE-94A1-4501-98E0-AB44749D8416}"/>
              </a:ext>
            </a:extLst>
          </p:cNvPr>
          <p:cNvSpPr/>
          <p:nvPr/>
        </p:nvSpPr>
        <p:spPr>
          <a:xfrm>
            <a:off x="5996704" y="4470220"/>
            <a:ext cx="205633" cy="205633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Rectangle 7">
            <a:extLst>
              <a:ext uri="{FF2B5EF4-FFF2-40B4-BE49-F238E27FC236}">
                <a16:creationId xmlns:a16="http://schemas.microsoft.com/office/drawing/2014/main" id="{17DB620F-BEF7-4DB1-B2C3-A61F3F9FB5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9401" y="3997888"/>
            <a:ext cx="3522703" cy="910227"/>
          </a:xfrm>
          <a:prstGeom prst="roundRect">
            <a:avLst>
              <a:gd name="adj" fmla="val 13451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1CD0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4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anose="05020102010507070707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60000"/>
              </a:spcBef>
              <a:spcAft>
                <a:spcPts val="0"/>
              </a:spcAft>
              <a:buClrTx/>
              <a:buSzPct val="75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w we do it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Pct val="75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execute on a strategy that </a:t>
            </a:r>
            <a:r>
              <a:rPr kumimoji="0" lang="en-GB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user-friendly platform that combines the power of blockchain, smart contracts, and python.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7">
            <a:extLst>
              <a:ext uri="{FF2B5EF4-FFF2-40B4-BE49-F238E27FC236}">
                <a16:creationId xmlns:a16="http://schemas.microsoft.com/office/drawing/2014/main" id="{05A03D4B-5C78-4D0F-801E-5EB56CB87559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2955" y="2962520"/>
            <a:ext cx="3522703" cy="910227"/>
          </a:xfrm>
          <a:prstGeom prst="roundRect">
            <a:avLst>
              <a:gd name="adj" fmla="val 13451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1CD0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4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anose="05020102010507070707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Pct val="75000"/>
              <a:buFont typeface="Wingdings 2" panose="05020102010507070707" pitchFamily="18" charset="2"/>
              <a:buNone/>
              <a:tabLst/>
              <a:defRPr/>
            </a:pPr>
            <a:r>
              <a:rPr lang="en-US" altLang="en-US" sz="1100" b="1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75000"/>
              <a:buFont typeface="Wingdings 2" panose="05020102010507070707" pitchFamily="18" charset="2"/>
              <a:buNone/>
              <a:tabLst/>
              <a:defRPr/>
            </a:pP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Our product is a  user-friendly platform that leverages the security and transparency of blockchain and use of smart contracts. 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Rectangle 7">
            <a:extLst>
              <a:ext uri="{FF2B5EF4-FFF2-40B4-BE49-F238E27FC236}">
                <a16:creationId xmlns:a16="http://schemas.microsoft.com/office/drawing/2014/main" id="{27139056-0D60-4DBD-B84A-746141D7466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2955" y="1933202"/>
            <a:ext cx="3522703" cy="910227"/>
          </a:xfrm>
          <a:prstGeom prst="roundRect">
            <a:avLst>
              <a:gd name="adj" fmla="val 13451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1CD0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4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anose="05020102010507070707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70000"/>
              </a:spcBef>
              <a:spcAft>
                <a:spcPts val="0"/>
              </a:spcAft>
              <a:buClrTx/>
              <a:buSzPct val="75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o we are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Tx/>
              <a:buSzPct val="75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are a group of professionals passionate about technology</a:t>
            </a:r>
            <a:r>
              <a:rPr lang="en-US" altLang="en-US" sz="1100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 world of sports, and aiming to fill a gap in the sports betting market. 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A46C4C81-7281-47A9-9189-47F57FCEA400}"/>
              </a:ext>
            </a:extLst>
          </p:cNvPr>
          <p:cNvSpPr>
            <a:spLocks noChangeAspect="1"/>
          </p:cNvSpPr>
          <p:nvPr/>
        </p:nvSpPr>
        <p:spPr>
          <a:xfrm>
            <a:off x="400777" y="3117327"/>
            <a:ext cx="537249" cy="53724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1CD0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74173CAF-8D8E-4937-BD4C-9CB7BD468D3A}"/>
              </a:ext>
            </a:extLst>
          </p:cNvPr>
          <p:cNvGrpSpPr/>
          <p:nvPr/>
        </p:nvGrpSpPr>
        <p:grpSpPr>
          <a:xfrm>
            <a:off x="575051" y="3185072"/>
            <a:ext cx="188701" cy="401758"/>
            <a:chOff x="3508772" y="3040532"/>
            <a:chExt cx="661736" cy="1408885"/>
          </a:xfrm>
          <a:solidFill>
            <a:schemeClr val="bg2"/>
          </a:solidFill>
        </p:grpSpPr>
        <p:sp>
          <p:nvSpPr>
            <p:cNvPr id="174" name="Freeform 24">
              <a:extLst>
                <a:ext uri="{FF2B5EF4-FFF2-40B4-BE49-F238E27FC236}">
                  <a16:creationId xmlns:a16="http://schemas.microsoft.com/office/drawing/2014/main" id="{E05BDF03-B29C-41C1-8D0E-06D905AD15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08772" y="3040532"/>
              <a:ext cx="661736" cy="1408885"/>
            </a:xfrm>
            <a:custGeom>
              <a:avLst/>
              <a:gdLst>
                <a:gd name="T0" fmla="*/ 422684 w 698"/>
                <a:gd name="T1" fmla="*/ 455118 h 1485"/>
                <a:gd name="T2" fmla="*/ 565596 w 698"/>
                <a:gd name="T3" fmla="*/ 311078 h 1485"/>
                <a:gd name="T4" fmla="*/ 422684 w 698"/>
                <a:gd name="T5" fmla="*/ 168248 h 1485"/>
                <a:gd name="T6" fmla="*/ 279770 w 698"/>
                <a:gd name="T7" fmla="*/ 311078 h 1485"/>
                <a:gd name="T8" fmla="*/ 422684 w 698"/>
                <a:gd name="T9" fmla="*/ 455118 h 1485"/>
                <a:gd name="T10" fmla="*/ 485662 w 698"/>
                <a:gd name="T11" fmla="*/ 280817 h 1485"/>
                <a:gd name="T12" fmla="*/ 515940 w 698"/>
                <a:gd name="T13" fmla="*/ 311078 h 1485"/>
                <a:gd name="T14" fmla="*/ 485662 w 698"/>
                <a:gd name="T15" fmla="*/ 341338 h 1485"/>
                <a:gd name="T16" fmla="*/ 455384 w 698"/>
                <a:gd name="T17" fmla="*/ 311078 h 1485"/>
                <a:gd name="T18" fmla="*/ 485662 w 698"/>
                <a:gd name="T19" fmla="*/ 280817 h 1485"/>
                <a:gd name="T20" fmla="*/ 360916 w 698"/>
                <a:gd name="T21" fmla="*/ 280817 h 1485"/>
                <a:gd name="T22" fmla="*/ 389983 w 698"/>
                <a:gd name="T23" fmla="*/ 311078 h 1485"/>
                <a:gd name="T24" fmla="*/ 360916 w 698"/>
                <a:gd name="T25" fmla="*/ 341338 h 1485"/>
                <a:gd name="T26" fmla="*/ 330638 w 698"/>
                <a:gd name="T27" fmla="*/ 311078 h 1485"/>
                <a:gd name="T28" fmla="*/ 360916 w 698"/>
                <a:gd name="T29" fmla="*/ 280817 h 1485"/>
                <a:gd name="T30" fmla="*/ 845367 w 698"/>
                <a:gd name="T31" fmla="*/ 341338 h 1485"/>
                <a:gd name="T32" fmla="*/ 845367 w 698"/>
                <a:gd name="T33" fmla="*/ 341338 h 1485"/>
                <a:gd name="T34" fmla="*/ 832045 w 698"/>
                <a:gd name="T35" fmla="*/ 55679 h 1485"/>
                <a:gd name="T36" fmla="*/ 776333 w 698"/>
                <a:gd name="T37" fmla="*/ 0 h 1485"/>
                <a:gd name="T38" fmla="*/ 720621 w 698"/>
                <a:gd name="T39" fmla="*/ 55679 h 1485"/>
                <a:gd name="T40" fmla="*/ 708510 w 698"/>
                <a:gd name="T41" fmla="*/ 312288 h 1485"/>
                <a:gd name="T42" fmla="*/ 525629 w 698"/>
                <a:gd name="T43" fmla="*/ 498693 h 1485"/>
                <a:gd name="T44" fmla="*/ 319738 w 698"/>
                <a:gd name="T45" fmla="*/ 498693 h 1485"/>
                <a:gd name="T46" fmla="*/ 136857 w 698"/>
                <a:gd name="T47" fmla="*/ 312288 h 1485"/>
                <a:gd name="T48" fmla="*/ 124746 w 698"/>
                <a:gd name="T49" fmla="*/ 55679 h 1485"/>
                <a:gd name="T50" fmla="*/ 69034 w 698"/>
                <a:gd name="T51" fmla="*/ 0 h 1485"/>
                <a:gd name="T52" fmla="*/ 13322 w 698"/>
                <a:gd name="T53" fmla="*/ 55679 h 1485"/>
                <a:gd name="T54" fmla="*/ 0 w 698"/>
                <a:gd name="T55" fmla="*/ 341338 h 1485"/>
                <a:gd name="T56" fmla="*/ 0 w 698"/>
                <a:gd name="T57" fmla="*/ 341338 h 1485"/>
                <a:gd name="T58" fmla="*/ 0 w 698"/>
                <a:gd name="T59" fmla="*/ 342549 h 1485"/>
                <a:gd name="T60" fmla="*/ 0 w 698"/>
                <a:gd name="T61" fmla="*/ 342549 h 1485"/>
                <a:gd name="T62" fmla="*/ 20589 w 698"/>
                <a:gd name="T63" fmla="*/ 389755 h 1485"/>
                <a:gd name="T64" fmla="*/ 220425 w 698"/>
                <a:gd name="T65" fmla="*/ 595526 h 1485"/>
                <a:gd name="T66" fmla="*/ 220425 w 698"/>
                <a:gd name="T67" fmla="*/ 1076063 h 1485"/>
                <a:gd name="T68" fmla="*/ 221636 w 698"/>
                <a:gd name="T69" fmla="*/ 1085746 h 1485"/>
                <a:gd name="T70" fmla="*/ 238592 w 698"/>
                <a:gd name="T71" fmla="*/ 1390772 h 1485"/>
                <a:gd name="T72" fmla="*/ 238592 w 698"/>
                <a:gd name="T73" fmla="*/ 1390772 h 1485"/>
                <a:gd name="T74" fmla="*/ 253126 w 698"/>
                <a:gd name="T75" fmla="*/ 1739373 h 1485"/>
                <a:gd name="T76" fmla="*/ 311260 w 698"/>
                <a:gd name="T77" fmla="*/ 1797473 h 1485"/>
                <a:gd name="T78" fmla="*/ 369394 w 698"/>
                <a:gd name="T79" fmla="*/ 1739373 h 1485"/>
                <a:gd name="T80" fmla="*/ 383927 w 698"/>
                <a:gd name="T81" fmla="*/ 1390772 h 1485"/>
                <a:gd name="T82" fmla="*/ 383927 w 698"/>
                <a:gd name="T83" fmla="*/ 1390772 h 1485"/>
                <a:gd name="T84" fmla="*/ 402094 w 698"/>
                <a:gd name="T85" fmla="*/ 1085746 h 1485"/>
                <a:gd name="T86" fmla="*/ 402094 w 698"/>
                <a:gd name="T87" fmla="*/ 1076063 h 1485"/>
                <a:gd name="T88" fmla="*/ 443273 w 698"/>
                <a:gd name="T89" fmla="*/ 1076063 h 1485"/>
                <a:gd name="T90" fmla="*/ 443273 w 698"/>
                <a:gd name="T91" fmla="*/ 1085746 h 1485"/>
                <a:gd name="T92" fmla="*/ 461440 w 698"/>
                <a:gd name="T93" fmla="*/ 1390772 h 1485"/>
                <a:gd name="T94" fmla="*/ 461440 w 698"/>
                <a:gd name="T95" fmla="*/ 1390772 h 1485"/>
                <a:gd name="T96" fmla="*/ 475973 w 698"/>
                <a:gd name="T97" fmla="*/ 1739373 h 1485"/>
                <a:gd name="T98" fmla="*/ 534107 w 698"/>
                <a:gd name="T99" fmla="*/ 1797473 h 1485"/>
                <a:gd name="T100" fmla="*/ 592241 w 698"/>
                <a:gd name="T101" fmla="*/ 1739373 h 1485"/>
                <a:gd name="T102" fmla="*/ 606775 w 698"/>
                <a:gd name="T103" fmla="*/ 1390772 h 1485"/>
                <a:gd name="T104" fmla="*/ 606775 w 698"/>
                <a:gd name="T105" fmla="*/ 1390772 h 1485"/>
                <a:gd name="T106" fmla="*/ 623731 w 698"/>
                <a:gd name="T107" fmla="*/ 1085746 h 1485"/>
                <a:gd name="T108" fmla="*/ 624942 w 698"/>
                <a:gd name="T109" fmla="*/ 1076063 h 1485"/>
                <a:gd name="T110" fmla="*/ 624942 w 698"/>
                <a:gd name="T111" fmla="*/ 595526 h 1485"/>
                <a:gd name="T112" fmla="*/ 824778 w 698"/>
                <a:gd name="T113" fmla="*/ 389755 h 1485"/>
                <a:gd name="T114" fmla="*/ 845367 w 698"/>
                <a:gd name="T115" fmla="*/ 342549 h 1485"/>
                <a:gd name="T116" fmla="*/ 845367 w 698"/>
                <a:gd name="T117" fmla="*/ 342549 h 1485"/>
                <a:gd name="T118" fmla="*/ 845367 w 698"/>
                <a:gd name="T119" fmla="*/ 341338 h 148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98"/>
                <a:gd name="T181" fmla="*/ 0 h 1485"/>
                <a:gd name="T182" fmla="*/ 698 w 698"/>
                <a:gd name="T183" fmla="*/ 1485 h 148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98" h="1485">
                  <a:moveTo>
                    <a:pt x="349" y="376"/>
                  </a:moveTo>
                  <a:cubicBezTo>
                    <a:pt x="414" y="376"/>
                    <a:pt x="467" y="323"/>
                    <a:pt x="467" y="257"/>
                  </a:cubicBezTo>
                  <a:cubicBezTo>
                    <a:pt x="467" y="192"/>
                    <a:pt x="414" y="139"/>
                    <a:pt x="349" y="139"/>
                  </a:cubicBezTo>
                  <a:cubicBezTo>
                    <a:pt x="284" y="139"/>
                    <a:pt x="231" y="192"/>
                    <a:pt x="231" y="257"/>
                  </a:cubicBezTo>
                  <a:cubicBezTo>
                    <a:pt x="231" y="323"/>
                    <a:pt x="284" y="376"/>
                    <a:pt x="349" y="376"/>
                  </a:cubicBezTo>
                  <a:close/>
                  <a:moveTo>
                    <a:pt x="401" y="232"/>
                  </a:moveTo>
                  <a:cubicBezTo>
                    <a:pt x="414" y="232"/>
                    <a:pt x="426" y="243"/>
                    <a:pt x="426" y="257"/>
                  </a:cubicBezTo>
                  <a:cubicBezTo>
                    <a:pt x="426" y="271"/>
                    <a:pt x="414" y="282"/>
                    <a:pt x="401" y="282"/>
                  </a:cubicBezTo>
                  <a:cubicBezTo>
                    <a:pt x="387" y="282"/>
                    <a:pt x="376" y="271"/>
                    <a:pt x="376" y="257"/>
                  </a:cubicBezTo>
                  <a:cubicBezTo>
                    <a:pt x="376" y="243"/>
                    <a:pt x="387" y="232"/>
                    <a:pt x="401" y="232"/>
                  </a:cubicBezTo>
                  <a:close/>
                  <a:moveTo>
                    <a:pt x="298" y="232"/>
                  </a:moveTo>
                  <a:cubicBezTo>
                    <a:pt x="311" y="232"/>
                    <a:pt x="322" y="243"/>
                    <a:pt x="322" y="257"/>
                  </a:cubicBezTo>
                  <a:cubicBezTo>
                    <a:pt x="322" y="271"/>
                    <a:pt x="311" y="282"/>
                    <a:pt x="298" y="282"/>
                  </a:cubicBezTo>
                  <a:cubicBezTo>
                    <a:pt x="284" y="282"/>
                    <a:pt x="273" y="271"/>
                    <a:pt x="273" y="257"/>
                  </a:cubicBezTo>
                  <a:cubicBezTo>
                    <a:pt x="273" y="243"/>
                    <a:pt x="284" y="232"/>
                    <a:pt x="298" y="232"/>
                  </a:cubicBezTo>
                  <a:close/>
                  <a:moveTo>
                    <a:pt x="698" y="282"/>
                  </a:moveTo>
                  <a:cubicBezTo>
                    <a:pt x="698" y="282"/>
                    <a:pt x="698" y="282"/>
                    <a:pt x="698" y="282"/>
                  </a:cubicBezTo>
                  <a:cubicBezTo>
                    <a:pt x="687" y="46"/>
                    <a:pt x="687" y="46"/>
                    <a:pt x="687" y="46"/>
                  </a:cubicBezTo>
                  <a:cubicBezTo>
                    <a:pt x="687" y="21"/>
                    <a:pt x="666" y="0"/>
                    <a:pt x="641" y="0"/>
                  </a:cubicBezTo>
                  <a:cubicBezTo>
                    <a:pt x="616" y="0"/>
                    <a:pt x="596" y="20"/>
                    <a:pt x="595" y="46"/>
                  </a:cubicBezTo>
                  <a:cubicBezTo>
                    <a:pt x="585" y="258"/>
                    <a:pt x="585" y="258"/>
                    <a:pt x="585" y="258"/>
                  </a:cubicBezTo>
                  <a:cubicBezTo>
                    <a:pt x="434" y="412"/>
                    <a:pt x="434" y="412"/>
                    <a:pt x="434" y="412"/>
                  </a:cubicBezTo>
                  <a:cubicBezTo>
                    <a:pt x="264" y="412"/>
                    <a:pt x="264" y="412"/>
                    <a:pt x="264" y="412"/>
                  </a:cubicBezTo>
                  <a:cubicBezTo>
                    <a:pt x="113" y="258"/>
                    <a:pt x="113" y="258"/>
                    <a:pt x="113" y="258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20"/>
                    <a:pt x="82" y="0"/>
                    <a:pt x="57" y="0"/>
                  </a:cubicBezTo>
                  <a:cubicBezTo>
                    <a:pt x="32" y="0"/>
                    <a:pt x="11" y="21"/>
                    <a:pt x="11" y="46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1" y="297"/>
                    <a:pt x="6" y="311"/>
                    <a:pt x="17" y="322"/>
                  </a:cubicBezTo>
                  <a:cubicBezTo>
                    <a:pt x="182" y="492"/>
                    <a:pt x="182" y="492"/>
                    <a:pt x="182" y="492"/>
                  </a:cubicBezTo>
                  <a:cubicBezTo>
                    <a:pt x="182" y="889"/>
                    <a:pt x="182" y="889"/>
                    <a:pt x="182" y="889"/>
                  </a:cubicBezTo>
                  <a:cubicBezTo>
                    <a:pt x="182" y="892"/>
                    <a:pt x="183" y="894"/>
                    <a:pt x="183" y="897"/>
                  </a:cubicBezTo>
                  <a:cubicBezTo>
                    <a:pt x="197" y="1149"/>
                    <a:pt x="197" y="1149"/>
                    <a:pt x="197" y="1149"/>
                  </a:cubicBezTo>
                  <a:cubicBezTo>
                    <a:pt x="197" y="1149"/>
                    <a:pt x="197" y="1149"/>
                    <a:pt x="197" y="1149"/>
                  </a:cubicBezTo>
                  <a:cubicBezTo>
                    <a:pt x="209" y="1437"/>
                    <a:pt x="209" y="1437"/>
                    <a:pt x="209" y="1437"/>
                  </a:cubicBezTo>
                  <a:cubicBezTo>
                    <a:pt x="209" y="1463"/>
                    <a:pt x="231" y="1485"/>
                    <a:pt x="257" y="1485"/>
                  </a:cubicBezTo>
                  <a:cubicBezTo>
                    <a:pt x="284" y="1485"/>
                    <a:pt x="305" y="1463"/>
                    <a:pt x="305" y="1437"/>
                  </a:cubicBezTo>
                  <a:cubicBezTo>
                    <a:pt x="317" y="1149"/>
                    <a:pt x="317" y="1149"/>
                    <a:pt x="317" y="1149"/>
                  </a:cubicBezTo>
                  <a:cubicBezTo>
                    <a:pt x="317" y="1149"/>
                    <a:pt x="317" y="1149"/>
                    <a:pt x="317" y="1149"/>
                  </a:cubicBezTo>
                  <a:cubicBezTo>
                    <a:pt x="332" y="897"/>
                    <a:pt x="332" y="897"/>
                    <a:pt x="332" y="897"/>
                  </a:cubicBezTo>
                  <a:cubicBezTo>
                    <a:pt x="332" y="894"/>
                    <a:pt x="332" y="892"/>
                    <a:pt x="332" y="889"/>
                  </a:cubicBezTo>
                  <a:cubicBezTo>
                    <a:pt x="366" y="889"/>
                    <a:pt x="366" y="889"/>
                    <a:pt x="366" y="889"/>
                  </a:cubicBezTo>
                  <a:cubicBezTo>
                    <a:pt x="366" y="892"/>
                    <a:pt x="366" y="894"/>
                    <a:pt x="366" y="897"/>
                  </a:cubicBezTo>
                  <a:cubicBezTo>
                    <a:pt x="381" y="1149"/>
                    <a:pt x="381" y="1149"/>
                    <a:pt x="381" y="1149"/>
                  </a:cubicBezTo>
                  <a:cubicBezTo>
                    <a:pt x="381" y="1149"/>
                    <a:pt x="381" y="1149"/>
                    <a:pt x="381" y="1149"/>
                  </a:cubicBezTo>
                  <a:cubicBezTo>
                    <a:pt x="393" y="1437"/>
                    <a:pt x="393" y="1437"/>
                    <a:pt x="393" y="1437"/>
                  </a:cubicBezTo>
                  <a:cubicBezTo>
                    <a:pt x="393" y="1463"/>
                    <a:pt x="414" y="1485"/>
                    <a:pt x="441" y="1485"/>
                  </a:cubicBezTo>
                  <a:cubicBezTo>
                    <a:pt x="467" y="1485"/>
                    <a:pt x="489" y="1463"/>
                    <a:pt x="489" y="1437"/>
                  </a:cubicBezTo>
                  <a:cubicBezTo>
                    <a:pt x="501" y="1149"/>
                    <a:pt x="501" y="1149"/>
                    <a:pt x="501" y="1149"/>
                  </a:cubicBezTo>
                  <a:cubicBezTo>
                    <a:pt x="501" y="1149"/>
                    <a:pt x="501" y="1149"/>
                    <a:pt x="501" y="1149"/>
                  </a:cubicBezTo>
                  <a:cubicBezTo>
                    <a:pt x="515" y="897"/>
                    <a:pt x="515" y="897"/>
                    <a:pt x="515" y="897"/>
                  </a:cubicBezTo>
                  <a:cubicBezTo>
                    <a:pt x="516" y="894"/>
                    <a:pt x="516" y="892"/>
                    <a:pt x="516" y="889"/>
                  </a:cubicBezTo>
                  <a:cubicBezTo>
                    <a:pt x="516" y="492"/>
                    <a:pt x="516" y="492"/>
                    <a:pt x="516" y="492"/>
                  </a:cubicBezTo>
                  <a:cubicBezTo>
                    <a:pt x="681" y="322"/>
                    <a:pt x="681" y="322"/>
                    <a:pt x="681" y="322"/>
                  </a:cubicBezTo>
                  <a:cubicBezTo>
                    <a:pt x="692" y="311"/>
                    <a:pt x="698" y="297"/>
                    <a:pt x="698" y="283"/>
                  </a:cubicBezTo>
                  <a:cubicBezTo>
                    <a:pt x="698" y="283"/>
                    <a:pt x="698" y="283"/>
                    <a:pt x="698" y="283"/>
                  </a:cubicBezTo>
                  <a:lnTo>
                    <a:pt x="698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AFB594A4-5EA5-4C47-8758-3A40CA559DC5}"/>
                </a:ext>
              </a:extLst>
            </p:cNvPr>
            <p:cNvSpPr/>
            <p:nvPr/>
          </p:nvSpPr>
          <p:spPr>
            <a:xfrm>
              <a:off x="3747014" y="3189623"/>
              <a:ext cx="191189" cy="191189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6" name="Oval 175">
            <a:extLst>
              <a:ext uri="{FF2B5EF4-FFF2-40B4-BE49-F238E27FC236}">
                <a16:creationId xmlns:a16="http://schemas.microsoft.com/office/drawing/2014/main" id="{09939DC1-1608-420C-B179-47EFB49E5F1C}"/>
              </a:ext>
            </a:extLst>
          </p:cNvPr>
          <p:cNvSpPr>
            <a:spLocks noChangeAspect="1"/>
          </p:cNvSpPr>
          <p:nvPr/>
        </p:nvSpPr>
        <p:spPr>
          <a:xfrm>
            <a:off x="400776" y="4190190"/>
            <a:ext cx="537249" cy="53724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1CD0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70B9ACBC-CD9B-43B0-A890-72D521FFFC9C}"/>
              </a:ext>
            </a:extLst>
          </p:cNvPr>
          <p:cNvSpPr>
            <a:spLocks noChangeAspect="1"/>
          </p:cNvSpPr>
          <p:nvPr/>
        </p:nvSpPr>
        <p:spPr>
          <a:xfrm>
            <a:off x="395062" y="2095232"/>
            <a:ext cx="537249" cy="53724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1CD0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Freeform 43">
            <a:extLst>
              <a:ext uri="{FF2B5EF4-FFF2-40B4-BE49-F238E27FC236}">
                <a16:creationId xmlns:a16="http://schemas.microsoft.com/office/drawing/2014/main" id="{DE401351-013C-49DB-9E24-62B9A5DDDF78}"/>
              </a:ext>
            </a:extLst>
          </p:cNvPr>
          <p:cNvSpPr>
            <a:spLocks/>
          </p:cNvSpPr>
          <p:nvPr/>
        </p:nvSpPr>
        <p:spPr bwMode="auto">
          <a:xfrm>
            <a:off x="512743" y="2360944"/>
            <a:ext cx="301642" cy="173027"/>
          </a:xfrm>
          <a:custGeom>
            <a:avLst/>
            <a:gdLst>
              <a:gd name="T0" fmla="*/ 485 w 524"/>
              <a:gd name="T1" fmla="*/ 56 h 300"/>
              <a:gd name="T2" fmla="*/ 473 w 524"/>
              <a:gd name="T3" fmla="*/ 36 h 300"/>
              <a:gd name="T4" fmla="*/ 450 w 524"/>
              <a:gd name="T5" fmla="*/ 26 h 300"/>
              <a:gd name="T6" fmla="*/ 318 w 524"/>
              <a:gd name="T7" fmla="*/ 0 h 300"/>
              <a:gd name="T8" fmla="*/ 262 w 524"/>
              <a:gd name="T9" fmla="*/ 30 h 300"/>
              <a:gd name="T10" fmla="*/ 206 w 524"/>
              <a:gd name="T11" fmla="*/ 0 h 300"/>
              <a:gd name="T12" fmla="*/ 74 w 524"/>
              <a:gd name="T13" fmla="*/ 26 h 300"/>
              <a:gd name="T14" fmla="*/ 51 w 524"/>
              <a:gd name="T15" fmla="*/ 36 h 300"/>
              <a:gd name="T16" fmla="*/ 39 w 524"/>
              <a:gd name="T17" fmla="*/ 56 h 300"/>
              <a:gd name="T18" fmla="*/ 0 w 524"/>
              <a:gd name="T19" fmla="*/ 228 h 300"/>
              <a:gd name="T20" fmla="*/ 73 w 524"/>
              <a:gd name="T21" fmla="*/ 254 h 300"/>
              <a:gd name="T22" fmla="*/ 249 w 524"/>
              <a:gd name="T23" fmla="*/ 300 h 300"/>
              <a:gd name="T24" fmla="*/ 262 w 524"/>
              <a:gd name="T25" fmla="*/ 300 h 300"/>
              <a:gd name="T26" fmla="*/ 275 w 524"/>
              <a:gd name="T27" fmla="*/ 300 h 300"/>
              <a:gd name="T28" fmla="*/ 451 w 524"/>
              <a:gd name="T29" fmla="*/ 254 h 300"/>
              <a:gd name="T30" fmla="*/ 524 w 524"/>
              <a:gd name="T31" fmla="*/ 228 h 300"/>
              <a:gd name="T32" fmla="*/ 485 w 524"/>
              <a:gd name="T33" fmla="*/ 56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4" h="300">
                <a:moveTo>
                  <a:pt x="485" y="56"/>
                </a:moveTo>
                <a:cubicBezTo>
                  <a:pt x="484" y="48"/>
                  <a:pt x="479" y="41"/>
                  <a:pt x="473" y="36"/>
                </a:cubicBezTo>
                <a:cubicBezTo>
                  <a:pt x="467" y="30"/>
                  <a:pt x="459" y="27"/>
                  <a:pt x="450" y="26"/>
                </a:cubicBezTo>
                <a:cubicBezTo>
                  <a:pt x="318" y="0"/>
                  <a:pt x="318" y="0"/>
                  <a:pt x="318" y="0"/>
                </a:cubicBezTo>
                <a:cubicBezTo>
                  <a:pt x="318" y="0"/>
                  <a:pt x="311" y="30"/>
                  <a:pt x="262" y="30"/>
                </a:cubicBezTo>
                <a:cubicBezTo>
                  <a:pt x="213" y="30"/>
                  <a:pt x="206" y="0"/>
                  <a:pt x="206" y="0"/>
                </a:cubicBezTo>
                <a:cubicBezTo>
                  <a:pt x="74" y="26"/>
                  <a:pt x="74" y="26"/>
                  <a:pt x="74" y="26"/>
                </a:cubicBezTo>
                <a:cubicBezTo>
                  <a:pt x="65" y="27"/>
                  <a:pt x="57" y="30"/>
                  <a:pt x="51" y="36"/>
                </a:cubicBezTo>
                <a:cubicBezTo>
                  <a:pt x="45" y="41"/>
                  <a:pt x="40" y="48"/>
                  <a:pt x="39" y="56"/>
                </a:cubicBezTo>
                <a:cubicBezTo>
                  <a:pt x="0" y="228"/>
                  <a:pt x="0" y="228"/>
                  <a:pt x="0" y="228"/>
                </a:cubicBezTo>
                <a:cubicBezTo>
                  <a:pt x="73" y="254"/>
                  <a:pt x="73" y="254"/>
                  <a:pt x="73" y="254"/>
                </a:cubicBezTo>
                <a:cubicBezTo>
                  <a:pt x="98" y="279"/>
                  <a:pt x="167" y="298"/>
                  <a:pt x="249" y="300"/>
                </a:cubicBezTo>
                <a:cubicBezTo>
                  <a:pt x="262" y="300"/>
                  <a:pt x="262" y="300"/>
                  <a:pt x="262" y="300"/>
                </a:cubicBezTo>
                <a:cubicBezTo>
                  <a:pt x="275" y="300"/>
                  <a:pt x="275" y="300"/>
                  <a:pt x="275" y="300"/>
                </a:cubicBezTo>
                <a:cubicBezTo>
                  <a:pt x="357" y="298"/>
                  <a:pt x="426" y="279"/>
                  <a:pt x="451" y="254"/>
                </a:cubicBezTo>
                <a:cubicBezTo>
                  <a:pt x="524" y="228"/>
                  <a:pt x="524" y="228"/>
                  <a:pt x="524" y="228"/>
                </a:cubicBezTo>
                <a:lnTo>
                  <a:pt x="485" y="5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Freeform 44">
            <a:extLst>
              <a:ext uri="{FF2B5EF4-FFF2-40B4-BE49-F238E27FC236}">
                <a16:creationId xmlns:a16="http://schemas.microsoft.com/office/drawing/2014/main" id="{80A5FA7C-FAAC-4AA6-85B9-90D368703294}"/>
              </a:ext>
            </a:extLst>
          </p:cNvPr>
          <p:cNvSpPr>
            <a:spLocks/>
          </p:cNvSpPr>
          <p:nvPr/>
        </p:nvSpPr>
        <p:spPr bwMode="auto">
          <a:xfrm>
            <a:off x="590641" y="2193742"/>
            <a:ext cx="146089" cy="175453"/>
          </a:xfrm>
          <a:custGeom>
            <a:avLst/>
            <a:gdLst>
              <a:gd name="T0" fmla="*/ 240 w 254"/>
              <a:gd name="T1" fmla="*/ 140 h 304"/>
              <a:gd name="T2" fmla="*/ 127 w 254"/>
              <a:gd name="T3" fmla="*/ 0 h 304"/>
              <a:gd name="T4" fmla="*/ 14 w 254"/>
              <a:gd name="T5" fmla="*/ 140 h 304"/>
              <a:gd name="T6" fmla="*/ 8 w 254"/>
              <a:gd name="T7" fmla="*/ 177 h 304"/>
              <a:gd name="T8" fmla="*/ 26 w 254"/>
              <a:gd name="T9" fmla="*/ 202 h 304"/>
              <a:gd name="T10" fmla="*/ 127 w 254"/>
              <a:gd name="T11" fmla="*/ 304 h 304"/>
              <a:gd name="T12" fmla="*/ 228 w 254"/>
              <a:gd name="T13" fmla="*/ 202 h 304"/>
              <a:gd name="T14" fmla="*/ 246 w 254"/>
              <a:gd name="T15" fmla="*/ 177 h 304"/>
              <a:gd name="T16" fmla="*/ 240 w 254"/>
              <a:gd name="T17" fmla="*/ 140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4" h="304">
                <a:moveTo>
                  <a:pt x="240" y="140"/>
                </a:moveTo>
                <a:cubicBezTo>
                  <a:pt x="240" y="61"/>
                  <a:pt x="208" y="0"/>
                  <a:pt x="127" y="0"/>
                </a:cubicBezTo>
                <a:cubicBezTo>
                  <a:pt x="46" y="0"/>
                  <a:pt x="14" y="62"/>
                  <a:pt x="14" y="140"/>
                </a:cubicBezTo>
                <a:cubicBezTo>
                  <a:pt x="5" y="144"/>
                  <a:pt x="0" y="154"/>
                  <a:pt x="8" y="177"/>
                </a:cubicBezTo>
                <a:cubicBezTo>
                  <a:pt x="12" y="188"/>
                  <a:pt x="20" y="197"/>
                  <a:pt x="26" y="202"/>
                </a:cubicBezTo>
                <a:cubicBezTo>
                  <a:pt x="49" y="260"/>
                  <a:pt x="94" y="304"/>
                  <a:pt x="127" y="304"/>
                </a:cubicBezTo>
                <a:cubicBezTo>
                  <a:pt x="160" y="304"/>
                  <a:pt x="205" y="260"/>
                  <a:pt x="228" y="202"/>
                </a:cubicBezTo>
                <a:cubicBezTo>
                  <a:pt x="234" y="197"/>
                  <a:pt x="242" y="188"/>
                  <a:pt x="246" y="177"/>
                </a:cubicBezTo>
                <a:cubicBezTo>
                  <a:pt x="254" y="154"/>
                  <a:pt x="249" y="144"/>
                  <a:pt x="240" y="14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Freeform 45">
            <a:extLst>
              <a:ext uri="{FF2B5EF4-FFF2-40B4-BE49-F238E27FC236}">
                <a16:creationId xmlns:a16="http://schemas.microsoft.com/office/drawing/2014/main" id="{BD32740C-FF2E-4E43-8DA1-C9D4ECA27561}"/>
              </a:ext>
            </a:extLst>
          </p:cNvPr>
          <p:cNvSpPr>
            <a:spLocks noEditPoints="1"/>
          </p:cNvSpPr>
          <p:nvPr/>
        </p:nvSpPr>
        <p:spPr bwMode="auto">
          <a:xfrm>
            <a:off x="433389" y="2251013"/>
            <a:ext cx="460593" cy="218892"/>
          </a:xfrm>
          <a:custGeom>
            <a:avLst/>
            <a:gdLst>
              <a:gd name="T0" fmla="*/ 128 w 800"/>
              <a:gd name="T1" fmla="*/ 380 h 380"/>
              <a:gd name="T2" fmla="*/ 48 w 800"/>
              <a:gd name="T3" fmla="*/ 352 h 380"/>
              <a:gd name="T4" fmla="*/ 0 w 800"/>
              <a:gd name="T5" fmla="*/ 336 h 380"/>
              <a:gd name="T6" fmla="*/ 25 w 800"/>
              <a:gd name="T7" fmla="*/ 224 h 380"/>
              <a:gd name="T8" fmla="*/ 33 w 800"/>
              <a:gd name="T9" fmla="*/ 211 h 380"/>
              <a:gd name="T10" fmla="*/ 48 w 800"/>
              <a:gd name="T11" fmla="*/ 204 h 380"/>
              <a:gd name="T12" fmla="*/ 141 w 800"/>
              <a:gd name="T13" fmla="*/ 183 h 380"/>
              <a:gd name="T14" fmla="*/ 105 w 800"/>
              <a:gd name="T15" fmla="*/ 131 h 380"/>
              <a:gd name="T16" fmla="*/ 93 w 800"/>
              <a:gd name="T17" fmla="*/ 114 h 380"/>
              <a:gd name="T18" fmla="*/ 97 w 800"/>
              <a:gd name="T19" fmla="*/ 90 h 380"/>
              <a:gd name="T20" fmla="*/ 170 w 800"/>
              <a:gd name="T21" fmla="*/ 0 h 380"/>
              <a:gd name="T22" fmla="*/ 170 w 800"/>
              <a:gd name="T23" fmla="*/ 0 h 380"/>
              <a:gd name="T24" fmla="*/ 244 w 800"/>
              <a:gd name="T25" fmla="*/ 90 h 380"/>
              <a:gd name="T26" fmla="*/ 247 w 800"/>
              <a:gd name="T27" fmla="*/ 114 h 380"/>
              <a:gd name="T28" fmla="*/ 236 w 800"/>
              <a:gd name="T29" fmla="*/ 131 h 380"/>
              <a:gd name="T30" fmla="*/ 199 w 800"/>
              <a:gd name="T31" fmla="*/ 183 h 380"/>
              <a:gd name="T32" fmla="*/ 240 w 800"/>
              <a:gd name="T33" fmla="*/ 192 h 380"/>
              <a:gd name="T34" fmla="*/ 209 w 800"/>
              <a:gd name="T35" fmla="*/ 199 h 380"/>
              <a:gd name="T36" fmla="*/ 177 w 800"/>
              <a:gd name="T37" fmla="*/ 213 h 380"/>
              <a:gd name="T38" fmla="*/ 159 w 800"/>
              <a:gd name="T39" fmla="*/ 243 h 380"/>
              <a:gd name="T40" fmla="*/ 128 w 800"/>
              <a:gd name="T41" fmla="*/ 380 h 380"/>
              <a:gd name="T42" fmla="*/ 775 w 800"/>
              <a:gd name="T43" fmla="*/ 224 h 380"/>
              <a:gd name="T44" fmla="*/ 767 w 800"/>
              <a:gd name="T45" fmla="*/ 211 h 380"/>
              <a:gd name="T46" fmla="*/ 752 w 800"/>
              <a:gd name="T47" fmla="*/ 204 h 380"/>
              <a:gd name="T48" fmla="*/ 659 w 800"/>
              <a:gd name="T49" fmla="*/ 183 h 380"/>
              <a:gd name="T50" fmla="*/ 695 w 800"/>
              <a:gd name="T51" fmla="*/ 131 h 380"/>
              <a:gd name="T52" fmla="*/ 707 w 800"/>
              <a:gd name="T53" fmla="*/ 114 h 380"/>
              <a:gd name="T54" fmla="*/ 703 w 800"/>
              <a:gd name="T55" fmla="*/ 90 h 380"/>
              <a:gd name="T56" fmla="*/ 630 w 800"/>
              <a:gd name="T57" fmla="*/ 0 h 380"/>
              <a:gd name="T58" fmla="*/ 630 w 800"/>
              <a:gd name="T59" fmla="*/ 0 h 380"/>
              <a:gd name="T60" fmla="*/ 556 w 800"/>
              <a:gd name="T61" fmla="*/ 90 h 380"/>
              <a:gd name="T62" fmla="*/ 553 w 800"/>
              <a:gd name="T63" fmla="*/ 114 h 380"/>
              <a:gd name="T64" fmla="*/ 564 w 800"/>
              <a:gd name="T65" fmla="*/ 131 h 380"/>
              <a:gd name="T66" fmla="*/ 601 w 800"/>
              <a:gd name="T67" fmla="*/ 183 h 380"/>
              <a:gd name="T68" fmla="*/ 560 w 800"/>
              <a:gd name="T69" fmla="*/ 192 h 380"/>
              <a:gd name="T70" fmla="*/ 591 w 800"/>
              <a:gd name="T71" fmla="*/ 199 h 380"/>
              <a:gd name="T72" fmla="*/ 623 w 800"/>
              <a:gd name="T73" fmla="*/ 213 h 380"/>
              <a:gd name="T74" fmla="*/ 641 w 800"/>
              <a:gd name="T75" fmla="*/ 243 h 380"/>
              <a:gd name="T76" fmla="*/ 672 w 800"/>
              <a:gd name="T77" fmla="*/ 380 h 380"/>
              <a:gd name="T78" fmla="*/ 752 w 800"/>
              <a:gd name="T79" fmla="*/ 352 h 380"/>
              <a:gd name="T80" fmla="*/ 800 w 800"/>
              <a:gd name="T81" fmla="*/ 336 h 380"/>
              <a:gd name="T82" fmla="*/ 775 w 800"/>
              <a:gd name="T83" fmla="*/ 224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00" h="380">
                <a:moveTo>
                  <a:pt x="128" y="380"/>
                </a:moveTo>
                <a:cubicBezTo>
                  <a:pt x="90" y="375"/>
                  <a:pt x="60" y="365"/>
                  <a:pt x="48" y="352"/>
                </a:cubicBezTo>
                <a:cubicBezTo>
                  <a:pt x="0" y="336"/>
                  <a:pt x="0" y="336"/>
                  <a:pt x="0" y="336"/>
                </a:cubicBezTo>
                <a:cubicBezTo>
                  <a:pt x="25" y="224"/>
                  <a:pt x="25" y="224"/>
                  <a:pt x="25" y="224"/>
                </a:cubicBezTo>
                <a:cubicBezTo>
                  <a:pt x="27" y="219"/>
                  <a:pt x="29" y="215"/>
                  <a:pt x="33" y="211"/>
                </a:cubicBezTo>
                <a:cubicBezTo>
                  <a:pt x="38" y="207"/>
                  <a:pt x="43" y="205"/>
                  <a:pt x="48" y="204"/>
                </a:cubicBezTo>
                <a:cubicBezTo>
                  <a:pt x="141" y="183"/>
                  <a:pt x="141" y="183"/>
                  <a:pt x="141" y="183"/>
                </a:cubicBezTo>
                <a:cubicBezTo>
                  <a:pt x="127" y="171"/>
                  <a:pt x="113" y="152"/>
                  <a:pt x="105" y="131"/>
                </a:cubicBezTo>
                <a:cubicBezTo>
                  <a:pt x="101" y="128"/>
                  <a:pt x="96" y="122"/>
                  <a:pt x="93" y="114"/>
                </a:cubicBezTo>
                <a:cubicBezTo>
                  <a:pt x="88" y="100"/>
                  <a:pt x="91" y="93"/>
                  <a:pt x="97" y="90"/>
                </a:cubicBezTo>
                <a:cubicBezTo>
                  <a:pt x="97" y="40"/>
                  <a:pt x="118" y="0"/>
                  <a:pt x="170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223" y="0"/>
                  <a:pt x="244" y="40"/>
                  <a:pt x="244" y="90"/>
                </a:cubicBezTo>
                <a:cubicBezTo>
                  <a:pt x="249" y="93"/>
                  <a:pt x="253" y="100"/>
                  <a:pt x="247" y="114"/>
                </a:cubicBezTo>
                <a:cubicBezTo>
                  <a:pt x="245" y="122"/>
                  <a:pt x="240" y="128"/>
                  <a:pt x="236" y="131"/>
                </a:cubicBezTo>
                <a:cubicBezTo>
                  <a:pt x="227" y="152"/>
                  <a:pt x="213" y="171"/>
                  <a:pt x="199" y="183"/>
                </a:cubicBezTo>
                <a:cubicBezTo>
                  <a:pt x="240" y="192"/>
                  <a:pt x="240" y="192"/>
                  <a:pt x="240" y="192"/>
                </a:cubicBezTo>
                <a:cubicBezTo>
                  <a:pt x="209" y="199"/>
                  <a:pt x="209" y="199"/>
                  <a:pt x="209" y="199"/>
                </a:cubicBezTo>
                <a:cubicBezTo>
                  <a:pt x="197" y="200"/>
                  <a:pt x="186" y="205"/>
                  <a:pt x="177" y="213"/>
                </a:cubicBezTo>
                <a:cubicBezTo>
                  <a:pt x="168" y="221"/>
                  <a:pt x="162" y="231"/>
                  <a:pt x="159" y="243"/>
                </a:cubicBezTo>
                <a:lnTo>
                  <a:pt x="128" y="380"/>
                </a:lnTo>
                <a:close/>
                <a:moveTo>
                  <a:pt x="775" y="224"/>
                </a:moveTo>
                <a:cubicBezTo>
                  <a:pt x="773" y="219"/>
                  <a:pt x="771" y="215"/>
                  <a:pt x="767" y="211"/>
                </a:cubicBezTo>
                <a:cubicBezTo>
                  <a:pt x="762" y="207"/>
                  <a:pt x="757" y="205"/>
                  <a:pt x="752" y="204"/>
                </a:cubicBezTo>
                <a:cubicBezTo>
                  <a:pt x="659" y="183"/>
                  <a:pt x="659" y="183"/>
                  <a:pt x="659" y="183"/>
                </a:cubicBezTo>
                <a:cubicBezTo>
                  <a:pt x="673" y="171"/>
                  <a:pt x="687" y="152"/>
                  <a:pt x="695" y="131"/>
                </a:cubicBezTo>
                <a:cubicBezTo>
                  <a:pt x="699" y="128"/>
                  <a:pt x="704" y="121"/>
                  <a:pt x="707" y="114"/>
                </a:cubicBezTo>
                <a:cubicBezTo>
                  <a:pt x="712" y="100"/>
                  <a:pt x="709" y="93"/>
                  <a:pt x="703" y="90"/>
                </a:cubicBezTo>
                <a:cubicBezTo>
                  <a:pt x="703" y="40"/>
                  <a:pt x="682" y="0"/>
                  <a:pt x="630" y="0"/>
                </a:cubicBezTo>
                <a:cubicBezTo>
                  <a:pt x="630" y="0"/>
                  <a:pt x="630" y="0"/>
                  <a:pt x="630" y="0"/>
                </a:cubicBezTo>
                <a:cubicBezTo>
                  <a:pt x="577" y="0"/>
                  <a:pt x="556" y="40"/>
                  <a:pt x="556" y="90"/>
                </a:cubicBezTo>
                <a:cubicBezTo>
                  <a:pt x="551" y="93"/>
                  <a:pt x="547" y="100"/>
                  <a:pt x="553" y="114"/>
                </a:cubicBezTo>
                <a:cubicBezTo>
                  <a:pt x="555" y="121"/>
                  <a:pt x="560" y="128"/>
                  <a:pt x="564" y="131"/>
                </a:cubicBezTo>
                <a:cubicBezTo>
                  <a:pt x="573" y="152"/>
                  <a:pt x="587" y="171"/>
                  <a:pt x="601" y="183"/>
                </a:cubicBezTo>
                <a:cubicBezTo>
                  <a:pt x="560" y="192"/>
                  <a:pt x="560" y="192"/>
                  <a:pt x="560" y="192"/>
                </a:cubicBezTo>
                <a:cubicBezTo>
                  <a:pt x="591" y="199"/>
                  <a:pt x="591" y="199"/>
                  <a:pt x="591" y="199"/>
                </a:cubicBezTo>
                <a:cubicBezTo>
                  <a:pt x="603" y="200"/>
                  <a:pt x="614" y="205"/>
                  <a:pt x="623" y="213"/>
                </a:cubicBezTo>
                <a:cubicBezTo>
                  <a:pt x="632" y="221"/>
                  <a:pt x="638" y="231"/>
                  <a:pt x="641" y="243"/>
                </a:cubicBezTo>
                <a:cubicBezTo>
                  <a:pt x="672" y="380"/>
                  <a:pt x="672" y="380"/>
                  <a:pt x="672" y="380"/>
                </a:cubicBezTo>
                <a:cubicBezTo>
                  <a:pt x="710" y="375"/>
                  <a:pt x="740" y="365"/>
                  <a:pt x="752" y="352"/>
                </a:cubicBezTo>
                <a:cubicBezTo>
                  <a:pt x="800" y="336"/>
                  <a:pt x="800" y="336"/>
                  <a:pt x="800" y="336"/>
                </a:cubicBezTo>
                <a:lnTo>
                  <a:pt x="775" y="22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77385ABE-D37B-4F83-83BE-A9266F0FCDA1}"/>
              </a:ext>
            </a:extLst>
          </p:cNvPr>
          <p:cNvGrpSpPr/>
          <p:nvPr/>
        </p:nvGrpSpPr>
        <p:grpSpPr>
          <a:xfrm>
            <a:off x="480534" y="4261845"/>
            <a:ext cx="370503" cy="370503"/>
            <a:chOff x="-9064540" y="1265738"/>
            <a:chExt cx="5314950" cy="5314950"/>
          </a:xfrm>
          <a:solidFill>
            <a:schemeClr val="bg2"/>
          </a:solidFill>
        </p:grpSpPr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2D392FFA-8216-40C8-9295-2EA8B448AC13}"/>
                </a:ext>
              </a:extLst>
            </p:cNvPr>
            <p:cNvSpPr/>
            <p:nvPr/>
          </p:nvSpPr>
          <p:spPr>
            <a:xfrm>
              <a:off x="-7178628" y="3494633"/>
              <a:ext cx="1542958" cy="1543058"/>
            </a:xfrm>
            <a:custGeom>
              <a:avLst/>
              <a:gdLst>
                <a:gd name="connsiteX0" fmla="*/ 5133 w 1542958"/>
                <a:gd name="connsiteY0" fmla="*/ 951551 h 1543058"/>
                <a:gd name="connsiteX1" fmla="*/ 21661 w 1542958"/>
                <a:gd name="connsiteY1" fmla="*/ 1067128 h 1543058"/>
                <a:gd name="connsiteX2" fmla="*/ 132143 w 1542958"/>
                <a:gd name="connsiteY2" fmla="*/ 1249982 h 1543058"/>
                <a:gd name="connsiteX3" fmla="*/ 132182 w 1542958"/>
                <a:gd name="connsiteY3" fmla="*/ 1249942 h 1543058"/>
                <a:gd name="connsiteX4" fmla="*/ 225716 w 1542958"/>
                <a:gd name="connsiteY4" fmla="*/ 1318983 h 1543058"/>
                <a:gd name="connsiteX5" fmla="*/ 341097 w 1542958"/>
                <a:gd name="connsiteY5" fmla="*/ 1304904 h 1543058"/>
                <a:gd name="connsiteX6" fmla="*/ 373320 w 1542958"/>
                <a:gd name="connsiteY6" fmla="*/ 1287064 h 1543058"/>
                <a:gd name="connsiteX7" fmla="*/ 506541 w 1542958"/>
                <a:gd name="connsiteY7" fmla="*/ 1361385 h 1543058"/>
                <a:gd name="connsiteX8" fmla="*/ 506541 w 1542958"/>
                <a:gd name="connsiteY8" fmla="*/ 1391315 h 1543058"/>
                <a:gd name="connsiteX9" fmla="*/ 552431 w 1542958"/>
                <a:gd name="connsiteY9" fmla="*/ 1499162 h 1543058"/>
                <a:gd name="connsiteX10" fmla="*/ 661120 w 1542958"/>
                <a:gd name="connsiteY10" fmla="*/ 1543053 h 1543058"/>
                <a:gd name="connsiteX11" fmla="*/ 882134 w 1542958"/>
                <a:gd name="connsiteY11" fmla="*/ 1543053 h 1543058"/>
                <a:gd name="connsiteX12" fmla="*/ 882095 w 1542958"/>
                <a:gd name="connsiteY12" fmla="*/ 1543053 h 1543058"/>
                <a:gd name="connsiteX13" fmla="*/ 990549 w 1542958"/>
                <a:gd name="connsiteY13" fmla="*/ 1499123 h 1543058"/>
                <a:gd name="connsiteX14" fmla="*/ 1036400 w 1542958"/>
                <a:gd name="connsiteY14" fmla="*/ 1391511 h 1543058"/>
                <a:gd name="connsiteX15" fmla="*/ 1036400 w 1542958"/>
                <a:gd name="connsiteY15" fmla="*/ 1361581 h 1543058"/>
                <a:gd name="connsiteX16" fmla="*/ 1169622 w 1542958"/>
                <a:gd name="connsiteY16" fmla="*/ 1287260 h 1543058"/>
                <a:gd name="connsiteX17" fmla="*/ 1201923 w 1542958"/>
                <a:gd name="connsiteY17" fmla="*/ 1305100 h 1543058"/>
                <a:gd name="connsiteX18" fmla="*/ 1201962 w 1542958"/>
                <a:gd name="connsiteY18" fmla="*/ 1305100 h 1543058"/>
                <a:gd name="connsiteX19" fmla="*/ 1317304 w 1542958"/>
                <a:gd name="connsiteY19" fmla="*/ 1319218 h 1543058"/>
                <a:gd name="connsiteX20" fmla="*/ 1410759 w 1542958"/>
                <a:gd name="connsiteY20" fmla="*/ 1250217 h 1543058"/>
                <a:gd name="connsiteX21" fmla="*/ 1521241 w 1542958"/>
                <a:gd name="connsiteY21" fmla="*/ 1067363 h 1543058"/>
                <a:gd name="connsiteX22" fmla="*/ 1521280 w 1542958"/>
                <a:gd name="connsiteY22" fmla="*/ 1067363 h 1543058"/>
                <a:gd name="connsiteX23" fmla="*/ 1537808 w 1542958"/>
                <a:gd name="connsiteY23" fmla="*/ 951707 h 1543058"/>
                <a:gd name="connsiteX24" fmla="*/ 1464104 w 1542958"/>
                <a:gd name="connsiteY24" fmla="*/ 857949 h 1543058"/>
                <a:gd name="connsiteX25" fmla="*/ 1435820 w 1542958"/>
                <a:gd name="connsiteY25" fmla="*/ 842450 h 1543058"/>
                <a:gd name="connsiteX26" fmla="*/ 1435820 w 1542958"/>
                <a:gd name="connsiteY26" fmla="*/ 842410 h 1543058"/>
                <a:gd name="connsiteX27" fmla="*/ 1435820 w 1542958"/>
                <a:gd name="connsiteY27" fmla="*/ 700656 h 1543058"/>
                <a:gd name="connsiteX28" fmla="*/ 1464183 w 1542958"/>
                <a:gd name="connsiteY28" fmla="*/ 685039 h 1543058"/>
                <a:gd name="connsiteX29" fmla="*/ 1537808 w 1542958"/>
                <a:gd name="connsiteY29" fmla="*/ 591359 h 1543058"/>
                <a:gd name="connsiteX30" fmla="*/ 1521280 w 1542958"/>
                <a:gd name="connsiteY30" fmla="*/ 475772 h 1543058"/>
                <a:gd name="connsiteX31" fmla="*/ 1410798 w 1542958"/>
                <a:gd name="connsiteY31" fmla="*/ 292918 h 1543058"/>
                <a:gd name="connsiteX32" fmla="*/ 1410759 w 1542958"/>
                <a:gd name="connsiteY32" fmla="*/ 292918 h 1543058"/>
                <a:gd name="connsiteX33" fmla="*/ 1317225 w 1542958"/>
                <a:gd name="connsiteY33" fmla="*/ 223917 h 1543058"/>
                <a:gd name="connsiteX34" fmla="*/ 1201884 w 1542958"/>
                <a:gd name="connsiteY34" fmla="*/ 237966 h 1543058"/>
                <a:gd name="connsiteX35" fmla="*/ 1169661 w 1542958"/>
                <a:gd name="connsiteY35" fmla="*/ 255797 h 1543058"/>
                <a:gd name="connsiteX36" fmla="*/ 1169622 w 1542958"/>
                <a:gd name="connsiteY36" fmla="*/ 255797 h 1543058"/>
                <a:gd name="connsiteX37" fmla="*/ 1036400 w 1542958"/>
                <a:gd name="connsiteY37" fmla="*/ 181476 h 1543058"/>
                <a:gd name="connsiteX38" fmla="*/ 1036400 w 1542958"/>
                <a:gd name="connsiteY38" fmla="*/ 151555 h 1543058"/>
                <a:gd name="connsiteX39" fmla="*/ 990549 w 1542958"/>
                <a:gd name="connsiteY39" fmla="*/ 43943 h 1543058"/>
                <a:gd name="connsiteX40" fmla="*/ 882095 w 1542958"/>
                <a:gd name="connsiteY40" fmla="*/ 3 h 1543058"/>
                <a:gd name="connsiteX41" fmla="*/ 661120 w 1542958"/>
                <a:gd name="connsiteY41" fmla="*/ 3 h 1543058"/>
                <a:gd name="connsiteX42" fmla="*/ 552666 w 1542958"/>
                <a:gd name="connsiteY42" fmla="*/ 43943 h 1543058"/>
                <a:gd name="connsiteX43" fmla="*/ 506815 w 1542958"/>
                <a:gd name="connsiteY43" fmla="*/ 151555 h 1543058"/>
                <a:gd name="connsiteX44" fmla="*/ 506815 w 1542958"/>
                <a:gd name="connsiteY44" fmla="*/ 181476 h 1543058"/>
                <a:gd name="connsiteX45" fmla="*/ 373594 w 1542958"/>
                <a:gd name="connsiteY45" fmla="*/ 255797 h 1543058"/>
                <a:gd name="connsiteX46" fmla="*/ 341293 w 1542958"/>
                <a:gd name="connsiteY46" fmla="*/ 237966 h 1543058"/>
                <a:gd name="connsiteX47" fmla="*/ 341263 w 1542958"/>
                <a:gd name="connsiteY47" fmla="*/ 237966 h 1543058"/>
                <a:gd name="connsiteX48" fmla="*/ 225990 w 1542958"/>
                <a:gd name="connsiteY48" fmla="*/ 223995 h 1543058"/>
                <a:gd name="connsiteX49" fmla="*/ 132457 w 1542958"/>
                <a:gd name="connsiteY49" fmla="*/ 292850 h 1543058"/>
                <a:gd name="connsiteX50" fmla="*/ 21974 w 1542958"/>
                <a:gd name="connsiteY50" fmla="*/ 475703 h 1543058"/>
                <a:gd name="connsiteX51" fmla="*/ 21935 w 1542958"/>
                <a:gd name="connsiteY51" fmla="*/ 475703 h 1543058"/>
                <a:gd name="connsiteX52" fmla="*/ 5398 w 1542958"/>
                <a:gd name="connsiteY52" fmla="*/ 591359 h 1543058"/>
                <a:gd name="connsiteX53" fmla="*/ 79111 w 1542958"/>
                <a:gd name="connsiteY53" fmla="*/ 685117 h 1543058"/>
                <a:gd name="connsiteX54" fmla="*/ 107386 w 1542958"/>
                <a:gd name="connsiteY54" fmla="*/ 700617 h 1543058"/>
                <a:gd name="connsiteX55" fmla="*/ 107386 w 1542958"/>
                <a:gd name="connsiteY55" fmla="*/ 700656 h 1543058"/>
                <a:gd name="connsiteX56" fmla="*/ 107386 w 1542958"/>
                <a:gd name="connsiteY56" fmla="*/ 842410 h 1543058"/>
                <a:gd name="connsiteX57" fmla="*/ 79033 w 1542958"/>
                <a:gd name="connsiteY57" fmla="*/ 858027 h 1543058"/>
                <a:gd name="connsiteX58" fmla="*/ 5133 w 1542958"/>
                <a:gd name="connsiteY58" fmla="*/ 951551 h 1543058"/>
                <a:gd name="connsiteX59" fmla="*/ 274398 w 1542958"/>
                <a:gd name="connsiteY59" fmla="*/ 771528 h 1543058"/>
                <a:gd name="connsiteX60" fmla="*/ 278953 w 1542958"/>
                <a:gd name="connsiteY60" fmla="*/ 708346 h 1543058"/>
                <a:gd name="connsiteX61" fmla="*/ 263758 w 1542958"/>
                <a:gd name="connsiteY61" fmla="*/ 620741 h 1543058"/>
                <a:gd name="connsiteX62" fmla="*/ 201801 w 1542958"/>
                <a:gd name="connsiteY62" fmla="*/ 557059 h 1543058"/>
                <a:gd name="connsiteX63" fmla="*/ 180296 w 1542958"/>
                <a:gd name="connsiteY63" fmla="*/ 545165 h 1543058"/>
                <a:gd name="connsiteX64" fmla="*/ 270920 w 1542958"/>
                <a:gd name="connsiteY64" fmla="*/ 395073 h 1543058"/>
                <a:gd name="connsiteX65" fmla="*/ 298695 w 1542958"/>
                <a:gd name="connsiteY65" fmla="*/ 410415 h 1543058"/>
                <a:gd name="connsiteX66" fmla="*/ 298665 w 1542958"/>
                <a:gd name="connsiteY66" fmla="*/ 410376 h 1543058"/>
                <a:gd name="connsiteX67" fmla="*/ 385723 w 1542958"/>
                <a:gd name="connsiteY67" fmla="*/ 429128 h 1543058"/>
                <a:gd name="connsiteX68" fmla="*/ 469273 w 1542958"/>
                <a:gd name="connsiteY68" fmla="*/ 398130 h 1543058"/>
                <a:gd name="connsiteX69" fmla="*/ 579334 w 1542958"/>
                <a:gd name="connsiteY69" fmla="*/ 336976 h 1543058"/>
                <a:gd name="connsiteX70" fmla="*/ 650510 w 1542958"/>
                <a:gd name="connsiteY70" fmla="*/ 281602 h 1543058"/>
                <a:gd name="connsiteX71" fmla="*/ 678138 w 1542958"/>
                <a:gd name="connsiteY71" fmla="*/ 195721 h 1543058"/>
                <a:gd name="connsiteX72" fmla="*/ 678138 w 1542958"/>
                <a:gd name="connsiteY72" fmla="*/ 171453 h 1543058"/>
                <a:gd name="connsiteX73" fmla="*/ 865352 w 1542958"/>
                <a:gd name="connsiteY73" fmla="*/ 171453 h 1543058"/>
                <a:gd name="connsiteX74" fmla="*/ 865352 w 1542958"/>
                <a:gd name="connsiteY74" fmla="*/ 195721 h 1543058"/>
                <a:gd name="connsiteX75" fmla="*/ 865391 w 1542958"/>
                <a:gd name="connsiteY75" fmla="*/ 195721 h 1543058"/>
                <a:gd name="connsiteX76" fmla="*/ 893029 w 1542958"/>
                <a:gd name="connsiteY76" fmla="*/ 281602 h 1543058"/>
                <a:gd name="connsiteX77" fmla="*/ 964205 w 1542958"/>
                <a:gd name="connsiteY77" fmla="*/ 336976 h 1543058"/>
                <a:gd name="connsiteX78" fmla="*/ 1074197 w 1542958"/>
                <a:gd name="connsiteY78" fmla="*/ 398130 h 1543058"/>
                <a:gd name="connsiteX79" fmla="*/ 1157777 w 1542958"/>
                <a:gd name="connsiteY79" fmla="*/ 429089 h 1543058"/>
                <a:gd name="connsiteX80" fmla="*/ 1244883 w 1542958"/>
                <a:gd name="connsiteY80" fmla="*/ 410376 h 1543058"/>
                <a:gd name="connsiteX81" fmla="*/ 1272668 w 1542958"/>
                <a:gd name="connsiteY81" fmla="*/ 395034 h 1543058"/>
                <a:gd name="connsiteX82" fmla="*/ 1363095 w 1542958"/>
                <a:gd name="connsiteY82" fmla="*/ 545126 h 1543058"/>
                <a:gd name="connsiteX83" fmla="*/ 1341512 w 1542958"/>
                <a:gd name="connsiteY83" fmla="*/ 557030 h 1543058"/>
                <a:gd name="connsiteX84" fmla="*/ 1341512 w 1542958"/>
                <a:gd name="connsiteY84" fmla="*/ 557059 h 1543058"/>
                <a:gd name="connsiteX85" fmla="*/ 1279516 w 1542958"/>
                <a:gd name="connsiteY85" fmla="*/ 620819 h 1543058"/>
                <a:gd name="connsiteX86" fmla="*/ 1264360 w 1542958"/>
                <a:gd name="connsiteY86" fmla="*/ 708425 h 1543058"/>
                <a:gd name="connsiteX87" fmla="*/ 1264360 w 1542958"/>
                <a:gd name="connsiteY87" fmla="*/ 834720 h 1543058"/>
                <a:gd name="connsiteX88" fmla="*/ 1279516 w 1542958"/>
                <a:gd name="connsiteY88" fmla="*/ 922316 h 1543058"/>
                <a:gd name="connsiteX89" fmla="*/ 1341512 w 1542958"/>
                <a:gd name="connsiteY89" fmla="*/ 985997 h 1543058"/>
                <a:gd name="connsiteX90" fmla="*/ 1363027 w 1542958"/>
                <a:gd name="connsiteY90" fmla="*/ 997901 h 1543058"/>
                <a:gd name="connsiteX91" fmla="*/ 1272403 w 1542958"/>
                <a:gd name="connsiteY91" fmla="*/ 1147993 h 1543058"/>
                <a:gd name="connsiteX92" fmla="*/ 1244619 w 1542958"/>
                <a:gd name="connsiteY92" fmla="*/ 1132641 h 1543058"/>
                <a:gd name="connsiteX93" fmla="*/ 1244619 w 1542958"/>
                <a:gd name="connsiteY93" fmla="*/ 1132680 h 1543058"/>
                <a:gd name="connsiteX94" fmla="*/ 1157552 w 1542958"/>
                <a:gd name="connsiteY94" fmla="*/ 1114046 h 1543058"/>
                <a:gd name="connsiteX95" fmla="*/ 1074050 w 1542958"/>
                <a:gd name="connsiteY95" fmla="*/ 1144927 h 1543058"/>
                <a:gd name="connsiteX96" fmla="*/ 963989 w 1542958"/>
                <a:gd name="connsiteY96" fmla="*/ 1206090 h 1543058"/>
                <a:gd name="connsiteX97" fmla="*/ 892764 w 1542958"/>
                <a:gd name="connsiteY97" fmla="*/ 1261464 h 1543058"/>
                <a:gd name="connsiteX98" fmla="*/ 865136 w 1542958"/>
                <a:gd name="connsiteY98" fmla="*/ 1347336 h 1543058"/>
                <a:gd name="connsiteX99" fmla="*/ 865136 w 1542958"/>
                <a:gd name="connsiteY99" fmla="*/ 1371603 h 1543058"/>
                <a:gd name="connsiteX100" fmla="*/ 677991 w 1542958"/>
                <a:gd name="connsiteY100" fmla="*/ 1371603 h 1543058"/>
                <a:gd name="connsiteX101" fmla="*/ 677991 w 1542958"/>
                <a:gd name="connsiteY101" fmla="*/ 1347336 h 1543058"/>
                <a:gd name="connsiteX102" fmla="*/ 650363 w 1542958"/>
                <a:gd name="connsiteY102" fmla="*/ 1261464 h 1543058"/>
                <a:gd name="connsiteX103" fmla="*/ 579138 w 1542958"/>
                <a:gd name="connsiteY103" fmla="*/ 1206090 h 1543058"/>
                <a:gd name="connsiteX104" fmla="*/ 469145 w 1542958"/>
                <a:gd name="connsiteY104" fmla="*/ 1144927 h 1543058"/>
                <a:gd name="connsiteX105" fmla="*/ 385605 w 1542958"/>
                <a:gd name="connsiteY105" fmla="*/ 1114007 h 1543058"/>
                <a:gd name="connsiteX106" fmla="*/ 298459 w 1542958"/>
                <a:gd name="connsiteY106" fmla="*/ 1132680 h 1543058"/>
                <a:gd name="connsiteX107" fmla="*/ 270675 w 1542958"/>
                <a:gd name="connsiteY107" fmla="*/ 1148032 h 1543058"/>
                <a:gd name="connsiteX108" fmla="*/ 180090 w 1542958"/>
                <a:gd name="connsiteY108" fmla="*/ 997940 h 1543058"/>
                <a:gd name="connsiteX109" fmla="*/ 201673 w 1542958"/>
                <a:gd name="connsiteY109" fmla="*/ 986037 h 1543058"/>
                <a:gd name="connsiteX110" fmla="*/ 201673 w 1542958"/>
                <a:gd name="connsiteY110" fmla="*/ 985997 h 1543058"/>
                <a:gd name="connsiteX111" fmla="*/ 263670 w 1542958"/>
                <a:gd name="connsiteY111" fmla="*/ 922238 h 1543058"/>
                <a:gd name="connsiteX112" fmla="*/ 278826 w 1542958"/>
                <a:gd name="connsiteY112" fmla="*/ 834641 h 1543058"/>
                <a:gd name="connsiteX113" fmla="*/ 274388 w 1542958"/>
                <a:gd name="connsiteY113" fmla="*/ 771528 h 154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1542958" h="1543058">
                  <a:moveTo>
                    <a:pt x="5133" y="951551"/>
                  </a:moveTo>
                  <a:cubicBezTo>
                    <a:pt x="-5468" y="990700"/>
                    <a:pt x="499" y="1032495"/>
                    <a:pt x="21661" y="1067128"/>
                  </a:cubicBezTo>
                  <a:lnTo>
                    <a:pt x="132143" y="1249982"/>
                  </a:lnTo>
                  <a:lnTo>
                    <a:pt x="132182" y="1249942"/>
                  </a:lnTo>
                  <a:cubicBezTo>
                    <a:pt x="153383" y="1284085"/>
                    <a:pt x="186831" y="1308764"/>
                    <a:pt x="225716" y="1318983"/>
                  </a:cubicBezTo>
                  <a:cubicBezTo>
                    <a:pt x="264561" y="1329201"/>
                    <a:pt x="305856" y="1324185"/>
                    <a:pt x="341097" y="1304904"/>
                  </a:cubicBezTo>
                  <a:lnTo>
                    <a:pt x="373320" y="1287064"/>
                  </a:lnTo>
                  <a:cubicBezTo>
                    <a:pt x="414732" y="1316877"/>
                    <a:pt x="459436" y="1341791"/>
                    <a:pt x="506541" y="1361385"/>
                  </a:cubicBezTo>
                  <a:lnTo>
                    <a:pt x="506541" y="1391315"/>
                  </a:lnTo>
                  <a:cubicBezTo>
                    <a:pt x="506962" y="1431915"/>
                    <a:pt x="523461" y="1470721"/>
                    <a:pt x="552431" y="1499162"/>
                  </a:cubicBezTo>
                  <a:cubicBezTo>
                    <a:pt x="581401" y="1527593"/>
                    <a:pt x="620511" y="1543396"/>
                    <a:pt x="661120" y="1543053"/>
                  </a:cubicBezTo>
                  <a:lnTo>
                    <a:pt x="882134" y="1543053"/>
                  </a:lnTo>
                  <a:lnTo>
                    <a:pt x="882095" y="1543053"/>
                  </a:lnTo>
                  <a:cubicBezTo>
                    <a:pt x="922665" y="1543328"/>
                    <a:pt x="961618" y="1527554"/>
                    <a:pt x="990549" y="1499123"/>
                  </a:cubicBezTo>
                  <a:cubicBezTo>
                    <a:pt x="1019480" y="1470721"/>
                    <a:pt x="1035979" y="1432032"/>
                    <a:pt x="1036400" y="1391511"/>
                  </a:cubicBezTo>
                  <a:lnTo>
                    <a:pt x="1036400" y="1361581"/>
                  </a:lnTo>
                  <a:cubicBezTo>
                    <a:pt x="1083505" y="1341947"/>
                    <a:pt x="1128209" y="1317033"/>
                    <a:pt x="1169622" y="1287260"/>
                  </a:cubicBezTo>
                  <a:lnTo>
                    <a:pt x="1201923" y="1305100"/>
                  </a:lnTo>
                  <a:lnTo>
                    <a:pt x="1201962" y="1305100"/>
                  </a:lnTo>
                  <a:cubicBezTo>
                    <a:pt x="1237163" y="1324381"/>
                    <a:pt x="1278458" y="1329436"/>
                    <a:pt x="1317304" y="1319218"/>
                  </a:cubicBezTo>
                  <a:cubicBezTo>
                    <a:pt x="1356110" y="1309039"/>
                    <a:pt x="1389597" y="1284311"/>
                    <a:pt x="1410759" y="1250217"/>
                  </a:cubicBezTo>
                  <a:lnTo>
                    <a:pt x="1521241" y="1067363"/>
                  </a:lnTo>
                  <a:lnTo>
                    <a:pt x="1521280" y="1067363"/>
                  </a:lnTo>
                  <a:cubicBezTo>
                    <a:pt x="1542442" y="1032730"/>
                    <a:pt x="1548408" y="990896"/>
                    <a:pt x="1537808" y="951707"/>
                  </a:cubicBezTo>
                  <a:cubicBezTo>
                    <a:pt x="1526943" y="911794"/>
                    <a:pt x="1500344" y="877964"/>
                    <a:pt x="1464104" y="857949"/>
                  </a:cubicBezTo>
                  <a:lnTo>
                    <a:pt x="1435820" y="842450"/>
                  </a:lnTo>
                  <a:lnTo>
                    <a:pt x="1435820" y="842410"/>
                  </a:lnTo>
                  <a:cubicBezTo>
                    <a:pt x="1441404" y="795335"/>
                    <a:pt x="1441404" y="747731"/>
                    <a:pt x="1435820" y="700656"/>
                  </a:cubicBezTo>
                  <a:lnTo>
                    <a:pt x="1464183" y="685039"/>
                  </a:lnTo>
                  <a:cubicBezTo>
                    <a:pt x="1500383" y="665063"/>
                    <a:pt x="1526943" y="631233"/>
                    <a:pt x="1537808" y="591359"/>
                  </a:cubicBezTo>
                  <a:cubicBezTo>
                    <a:pt x="1548448" y="552170"/>
                    <a:pt x="1542442" y="510376"/>
                    <a:pt x="1521280" y="475772"/>
                  </a:cubicBezTo>
                  <a:lnTo>
                    <a:pt x="1410798" y="292918"/>
                  </a:lnTo>
                  <a:lnTo>
                    <a:pt x="1410759" y="292918"/>
                  </a:lnTo>
                  <a:cubicBezTo>
                    <a:pt x="1389558" y="258824"/>
                    <a:pt x="1356071" y="234136"/>
                    <a:pt x="1317225" y="223917"/>
                  </a:cubicBezTo>
                  <a:cubicBezTo>
                    <a:pt x="1278379" y="213698"/>
                    <a:pt x="1237124" y="218715"/>
                    <a:pt x="1201884" y="237966"/>
                  </a:cubicBezTo>
                  <a:lnTo>
                    <a:pt x="1169661" y="255797"/>
                  </a:lnTo>
                  <a:lnTo>
                    <a:pt x="1169622" y="255797"/>
                  </a:lnTo>
                  <a:cubicBezTo>
                    <a:pt x="1128209" y="226023"/>
                    <a:pt x="1083514" y="201070"/>
                    <a:pt x="1036400" y="181476"/>
                  </a:cubicBezTo>
                  <a:lnTo>
                    <a:pt x="1036400" y="151555"/>
                  </a:lnTo>
                  <a:cubicBezTo>
                    <a:pt x="1035979" y="111025"/>
                    <a:pt x="1019480" y="72336"/>
                    <a:pt x="990549" y="43943"/>
                  </a:cubicBezTo>
                  <a:cubicBezTo>
                    <a:pt x="961618" y="15502"/>
                    <a:pt x="922655" y="-261"/>
                    <a:pt x="882095" y="3"/>
                  </a:cubicBezTo>
                  <a:lnTo>
                    <a:pt x="661120" y="3"/>
                  </a:lnTo>
                  <a:cubicBezTo>
                    <a:pt x="620550" y="-261"/>
                    <a:pt x="581597" y="15502"/>
                    <a:pt x="552666" y="43943"/>
                  </a:cubicBezTo>
                  <a:cubicBezTo>
                    <a:pt x="523735" y="72336"/>
                    <a:pt x="507237" y="111025"/>
                    <a:pt x="506815" y="151555"/>
                  </a:cubicBezTo>
                  <a:lnTo>
                    <a:pt x="506815" y="181476"/>
                  </a:lnTo>
                  <a:cubicBezTo>
                    <a:pt x="459711" y="201109"/>
                    <a:pt x="415006" y="226023"/>
                    <a:pt x="373594" y="255797"/>
                  </a:cubicBezTo>
                  <a:lnTo>
                    <a:pt x="341293" y="237966"/>
                  </a:lnTo>
                  <a:lnTo>
                    <a:pt x="341263" y="237966"/>
                  </a:lnTo>
                  <a:cubicBezTo>
                    <a:pt x="306013" y="218793"/>
                    <a:pt x="264796" y="213777"/>
                    <a:pt x="225990" y="223995"/>
                  </a:cubicBezTo>
                  <a:cubicBezTo>
                    <a:pt x="187144" y="234175"/>
                    <a:pt x="153697" y="258824"/>
                    <a:pt x="132457" y="292850"/>
                  </a:cubicBezTo>
                  <a:lnTo>
                    <a:pt x="21974" y="475703"/>
                  </a:lnTo>
                  <a:lnTo>
                    <a:pt x="21935" y="475703"/>
                  </a:lnTo>
                  <a:cubicBezTo>
                    <a:pt x="773" y="510336"/>
                    <a:pt x="-5203" y="552161"/>
                    <a:pt x="5398" y="591359"/>
                  </a:cubicBezTo>
                  <a:cubicBezTo>
                    <a:pt x="16273" y="631272"/>
                    <a:pt x="42862" y="665102"/>
                    <a:pt x="79111" y="685117"/>
                  </a:cubicBezTo>
                  <a:lnTo>
                    <a:pt x="107386" y="700617"/>
                  </a:lnTo>
                  <a:lnTo>
                    <a:pt x="107386" y="700656"/>
                  </a:lnTo>
                  <a:cubicBezTo>
                    <a:pt x="101801" y="747731"/>
                    <a:pt x="101801" y="795335"/>
                    <a:pt x="107386" y="842410"/>
                  </a:cubicBezTo>
                  <a:lnTo>
                    <a:pt x="79033" y="858027"/>
                  </a:lnTo>
                  <a:cubicBezTo>
                    <a:pt x="42754" y="877925"/>
                    <a:pt x="16116" y="911676"/>
                    <a:pt x="5133" y="951551"/>
                  </a:cubicBezTo>
                  <a:close/>
                  <a:moveTo>
                    <a:pt x="274398" y="771528"/>
                  </a:moveTo>
                  <a:cubicBezTo>
                    <a:pt x="274437" y="750406"/>
                    <a:pt x="275965" y="729283"/>
                    <a:pt x="278953" y="708346"/>
                  </a:cubicBezTo>
                  <a:cubicBezTo>
                    <a:pt x="282814" y="678299"/>
                    <a:pt x="277533" y="647761"/>
                    <a:pt x="263758" y="620741"/>
                  </a:cubicBezTo>
                  <a:cubicBezTo>
                    <a:pt x="250022" y="593769"/>
                    <a:pt x="228400" y="571569"/>
                    <a:pt x="201801" y="557059"/>
                  </a:cubicBezTo>
                  <a:lnTo>
                    <a:pt x="180296" y="545165"/>
                  </a:lnTo>
                  <a:lnTo>
                    <a:pt x="270920" y="395073"/>
                  </a:lnTo>
                  <a:lnTo>
                    <a:pt x="298695" y="410415"/>
                  </a:lnTo>
                  <a:lnTo>
                    <a:pt x="298665" y="410376"/>
                  </a:lnTo>
                  <a:cubicBezTo>
                    <a:pt x="325294" y="424768"/>
                    <a:pt x="355528" y="431273"/>
                    <a:pt x="385723" y="429128"/>
                  </a:cubicBezTo>
                  <a:cubicBezTo>
                    <a:pt x="415957" y="426953"/>
                    <a:pt x="444927" y="416196"/>
                    <a:pt x="469273" y="398130"/>
                  </a:cubicBezTo>
                  <a:cubicBezTo>
                    <a:pt x="503249" y="373216"/>
                    <a:pt x="540224" y="352700"/>
                    <a:pt x="579334" y="336976"/>
                  </a:cubicBezTo>
                  <a:cubicBezTo>
                    <a:pt x="608069" y="326101"/>
                    <a:pt x="632865" y="306781"/>
                    <a:pt x="650510" y="281602"/>
                  </a:cubicBezTo>
                  <a:cubicBezTo>
                    <a:pt x="668155" y="256375"/>
                    <a:pt x="677756" y="226454"/>
                    <a:pt x="678138" y="195721"/>
                  </a:cubicBezTo>
                  <a:lnTo>
                    <a:pt x="678138" y="171453"/>
                  </a:lnTo>
                  <a:lnTo>
                    <a:pt x="865352" y="171453"/>
                  </a:lnTo>
                  <a:lnTo>
                    <a:pt x="865352" y="195721"/>
                  </a:lnTo>
                  <a:lnTo>
                    <a:pt x="865391" y="195721"/>
                  </a:lnTo>
                  <a:cubicBezTo>
                    <a:pt x="865773" y="226454"/>
                    <a:pt x="875384" y="256375"/>
                    <a:pt x="893029" y="281602"/>
                  </a:cubicBezTo>
                  <a:cubicBezTo>
                    <a:pt x="910663" y="306781"/>
                    <a:pt x="935470" y="326111"/>
                    <a:pt x="964205" y="336976"/>
                  </a:cubicBezTo>
                  <a:cubicBezTo>
                    <a:pt x="1003286" y="352661"/>
                    <a:pt x="1040250" y="373216"/>
                    <a:pt x="1074197" y="398130"/>
                  </a:cubicBezTo>
                  <a:cubicBezTo>
                    <a:pt x="1098543" y="416156"/>
                    <a:pt x="1127553" y="426914"/>
                    <a:pt x="1157777" y="429089"/>
                  </a:cubicBezTo>
                  <a:cubicBezTo>
                    <a:pt x="1187971" y="431234"/>
                    <a:pt x="1218205" y="424768"/>
                    <a:pt x="1244883" y="410376"/>
                  </a:cubicBezTo>
                  <a:lnTo>
                    <a:pt x="1272668" y="395034"/>
                  </a:lnTo>
                  <a:lnTo>
                    <a:pt x="1363095" y="545126"/>
                  </a:lnTo>
                  <a:lnTo>
                    <a:pt x="1341512" y="557030"/>
                  </a:lnTo>
                  <a:lnTo>
                    <a:pt x="1341512" y="557059"/>
                  </a:lnTo>
                  <a:cubicBezTo>
                    <a:pt x="1314884" y="571569"/>
                    <a:pt x="1293261" y="593798"/>
                    <a:pt x="1279516" y="620819"/>
                  </a:cubicBezTo>
                  <a:cubicBezTo>
                    <a:pt x="1265741" y="647800"/>
                    <a:pt x="1260461" y="678377"/>
                    <a:pt x="1264360" y="708425"/>
                  </a:cubicBezTo>
                  <a:cubicBezTo>
                    <a:pt x="1270414" y="750327"/>
                    <a:pt x="1270414" y="792847"/>
                    <a:pt x="1264360" y="834720"/>
                  </a:cubicBezTo>
                  <a:cubicBezTo>
                    <a:pt x="1260461" y="864758"/>
                    <a:pt x="1265741" y="895296"/>
                    <a:pt x="1279516" y="922316"/>
                  </a:cubicBezTo>
                  <a:cubicBezTo>
                    <a:pt x="1293291" y="949297"/>
                    <a:pt x="1314884" y="971488"/>
                    <a:pt x="1341512" y="985997"/>
                  </a:cubicBezTo>
                  <a:lnTo>
                    <a:pt x="1363027" y="997901"/>
                  </a:lnTo>
                  <a:lnTo>
                    <a:pt x="1272403" y="1147993"/>
                  </a:lnTo>
                  <a:lnTo>
                    <a:pt x="1244619" y="1132641"/>
                  </a:lnTo>
                  <a:lnTo>
                    <a:pt x="1244619" y="1132680"/>
                  </a:lnTo>
                  <a:cubicBezTo>
                    <a:pt x="1217941" y="1118337"/>
                    <a:pt x="1187746" y="1111901"/>
                    <a:pt x="1157552" y="1114046"/>
                  </a:cubicBezTo>
                  <a:cubicBezTo>
                    <a:pt x="1127357" y="1116231"/>
                    <a:pt x="1098387" y="1126939"/>
                    <a:pt x="1074050" y="1144927"/>
                  </a:cubicBezTo>
                  <a:cubicBezTo>
                    <a:pt x="1040025" y="1169841"/>
                    <a:pt x="1003060" y="1190356"/>
                    <a:pt x="963989" y="1206090"/>
                  </a:cubicBezTo>
                  <a:cubicBezTo>
                    <a:pt x="935205" y="1216955"/>
                    <a:pt x="910409" y="1236285"/>
                    <a:pt x="892764" y="1261464"/>
                  </a:cubicBezTo>
                  <a:cubicBezTo>
                    <a:pt x="875119" y="1286682"/>
                    <a:pt x="865518" y="1316612"/>
                    <a:pt x="865136" y="1347336"/>
                  </a:cubicBezTo>
                  <a:lnTo>
                    <a:pt x="865136" y="1371603"/>
                  </a:lnTo>
                  <a:lnTo>
                    <a:pt x="677991" y="1371603"/>
                  </a:lnTo>
                  <a:lnTo>
                    <a:pt x="677991" y="1347336"/>
                  </a:lnTo>
                  <a:cubicBezTo>
                    <a:pt x="677609" y="1316612"/>
                    <a:pt x="667959" y="1286682"/>
                    <a:pt x="650363" y="1261464"/>
                  </a:cubicBezTo>
                  <a:cubicBezTo>
                    <a:pt x="632718" y="1236285"/>
                    <a:pt x="607922" y="1216955"/>
                    <a:pt x="579138" y="1206090"/>
                  </a:cubicBezTo>
                  <a:cubicBezTo>
                    <a:pt x="540067" y="1190395"/>
                    <a:pt x="503132" y="1169841"/>
                    <a:pt x="469145" y="1144927"/>
                  </a:cubicBezTo>
                  <a:cubicBezTo>
                    <a:pt x="444809" y="1126910"/>
                    <a:pt x="415839" y="1116192"/>
                    <a:pt x="385605" y="1114007"/>
                  </a:cubicBezTo>
                  <a:cubicBezTo>
                    <a:pt x="355371" y="1111822"/>
                    <a:pt x="325176" y="1118337"/>
                    <a:pt x="298459" y="1132680"/>
                  </a:cubicBezTo>
                  <a:lnTo>
                    <a:pt x="270675" y="1148032"/>
                  </a:lnTo>
                  <a:lnTo>
                    <a:pt x="180090" y="997940"/>
                  </a:lnTo>
                  <a:lnTo>
                    <a:pt x="201673" y="986037"/>
                  </a:lnTo>
                  <a:lnTo>
                    <a:pt x="201673" y="985997"/>
                  </a:lnTo>
                  <a:cubicBezTo>
                    <a:pt x="228312" y="971488"/>
                    <a:pt x="249934" y="949258"/>
                    <a:pt x="263670" y="922238"/>
                  </a:cubicBezTo>
                  <a:cubicBezTo>
                    <a:pt x="277455" y="895256"/>
                    <a:pt x="282735" y="864680"/>
                    <a:pt x="278826" y="834641"/>
                  </a:cubicBezTo>
                  <a:cubicBezTo>
                    <a:pt x="275887" y="813744"/>
                    <a:pt x="274388" y="792661"/>
                    <a:pt x="274388" y="771528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C5DC6B09-C615-46B0-8550-ACE7BA21CC9D}"/>
                </a:ext>
              </a:extLst>
            </p:cNvPr>
            <p:cNvSpPr/>
            <p:nvPr/>
          </p:nvSpPr>
          <p:spPr>
            <a:xfrm>
              <a:off x="-6707102" y="3966026"/>
              <a:ext cx="600075" cy="600075"/>
            </a:xfrm>
            <a:custGeom>
              <a:avLst/>
              <a:gdLst>
                <a:gd name="connsiteX0" fmla="*/ 300038 w 600075"/>
                <a:gd name="connsiteY0" fmla="*/ 600075 h 600075"/>
                <a:gd name="connsiteX1" fmla="*/ 512204 w 600075"/>
                <a:gd name="connsiteY1" fmla="*/ 512204 h 600075"/>
                <a:gd name="connsiteX2" fmla="*/ 600075 w 600075"/>
                <a:gd name="connsiteY2" fmla="*/ 300038 h 600075"/>
                <a:gd name="connsiteX3" fmla="*/ 512204 w 600075"/>
                <a:gd name="connsiteY3" fmla="*/ 87871 h 600075"/>
                <a:gd name="connsiteX4" fmla="*/ 300038 w 600075"/>
                <a:gd name="connsiteY4" fmla="*/ 0 h 600075"/>
                <a:gd name="connsiteX5" fmla="*/ 87871 w 600075"/>
                <a:gd name="connsiteY5" fmla="*/ 87871 h 600075"/>
                <a:gd name="connsiteX6" fmla="*/ 0 w 600075"/>
                <a:gd name="connsiteY6" fmla="*/ 300038 h 600075"/>
                <a:gd name="connsiteX7" fmla="*/ 87871 w 600075"/>
                <a:gd name="connsiteY7" fmla="*/ 512204 h 600075"/>
                <a:gd name="connsiteX8" fmla="*/ 300038 w 600075"/>
                <a:gd name="connsiteY8" fmla="*/ 600075 h 600075"/>
                <a:gd name="connsiteX9" fmla="*/ 300038 w 600075"/>
                <a:gd name="connsiteY9" fmla="*/ 171450 h 600075"/>
                <a:gd name="connsiteX10" fmla="*/ 418828 w 600075"/>
                <a:gd name="connsiteY10" fmla="*/ 250826 h 600075"/>
                <a:gd name="connsiteX11" fmla="*/ 390965 w 600075"/>
                <a:gd name="connsiteY11" fmla="*/ 390975 h 600075"/>
                <a:gd name="connsiteX12" fmla="*/ 250817 w 600075"/>
                <a:gd name="connsiteY12" fmla="*/ 418828 h 600075"/>
                <a:gd name="connsiteX13" fmla="*/ 171450 w 600075"/>
                <a:gd name="connsiteY13" fmla="*/ 300038 h 600075"/>
                <a:gd name="connsiteX14" fmla="*/ 300038 w 600075"/>
                <a:gd name="connsiteY14" fmla="*/ 171450 h 600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0075" h="600075">
                  <a:moveTo>
                    <a:pt x="300038" y="600075"/>
                  </a:moveTo>
                  <a:cubicBezTo>
                    <a:pt x="379600" y="600075"/>
                    <a:pt x="455910" y="568460"/>
                    <a:pt x="512204" y="512204"/>
                  </a:cubicBezTo>
                  <a:cubicBezTo>
                    <a:pt x="568460" y="455910"/>
                    <a:pt x="600075" y="379600"/>
                    <a:pt x="600075" y="300038"/>
                  </a:cubicBezTo>
                  <a:cubicBezTo>
                    <a:pt x="600075" y="220475"/>
                    <a:pt x="568460" y="144165"/>
                    <a:pt x="512204" y="87871"/>
                  </a:cubicBezTo>
                  <a:cubicBezTo>
                    <a:pt x="455910" y="31615"/>
                    <a:pt x="379600" y="0"/>
                    <a:pt x="300038" y="0"/>
                  </a:cubicBezTo>
                  <a:cubicBezTo>
                    <a:pt x="220475" y="0"/>
                    <a:pt x="144165" y="31615"/>
                    <a:pt x="87871" y="87871"/>
                  </a:cubicBezTo>
                  <a:cubicBezTo>
                    <a:pt x="31615" y="144165"/>
                    <a:pt x="0" y="220475"/>
                    <a:pt x="0" y="300038"/>
                  </a:cubicBezTo>
                  <a:cubicBezTo>
                    <a:pt x="0" y="379600"/>
                    <a:pt x="31615" y="455910"/>
                    <a:pt x="87871" y="512204"/>
                  </a:cubicBezTo>
                  <a:cubicBezTo>
                    <a:pt x="144165" y="568460"/>
                    <a:pt x="220475" y="600075"/>
                    <a:pt x="300038" y="600075"/>
                  </a:cubicBezTo>
                  <a:close/>
                  <a:moveTo>
                    <a:pt x="300038" y="171450"/>
                  </a:moveTo>
                  <a:cubicBezTo>
                    <a:pt x="352050" y="171450"/>
                    <a:pt x="398930" y="202791"/>
                    <a:pt x="418828" y="250826"/>
                  </a:cubicBezTo>
                  <a:cubicBezTo>
                    <a:pt x="438726" y="298891"/>
                    <a:pt x="427743" y="354196"/>
                    <a:pt x="390965" y="390975"/>
                  </a:cubicBezTo>
                  <a:cubicBezTo>
                    <a:pt x="354186" y="427753"/>
                    <a:pt x="298891" y="438736"/>
                    <a:pt x="250817" y="418828"/>
                  </a:cubicBezTo>
                  <a:cubicBezTo>
                    <a:pt x="202791" y="398930"/>
                    <a:pt x="171450" y="352050"/>
                    <a:pt x="171450" y="300038"/>
                  </a:cubicBezTo>
                  <a:cubicBezTo>
                    <a:pt x="171450" y="229008"/>
                    <a:pt x="229008" y="171450"/>
                    <a:pt x="300038" y="17145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658EFCB-FFC9-4737-B0E7-E546D183BFDA}"/>
                </a:ext>
              </a:extLst>
            </p:cNvPr>
            <p:cNvSpPr/>
            <p:nvPr/>
          </p:nvSpPr>
          <p:spPr>
            <a:xfrm>
              <a:off x="-7264315" y="1265738"/>
              <a:ext cx="1714500" cy="1714500"/>
            </a:xfrm>
            <a:custGeom>
              <a:avLst/>
              <a:gdLst>
                <a:gd name="connsiteX0" fmla="*/ 857250 w 1714500"/>
                <a:gd name="connsiteY0" fmla="*/ 1714500 h 1714500"/>
                <a:gd name="connsiteX1" fmla="*/ 1463409 w 1714500"/>
                <a:gd name="connsiteY1" fmla="*/ 1463409 h 1714500"/>
                <a:gd name="connsiteX2" fmla="*/ 1714500 w 1714500"/>
                <a:gd name="connsiteY2" fmla="*/ 857250 h 1714500"/>
                <a:gd name="connsiteX3" fmla="*/ 1463409 w 1714500"/>
                <a:gd name="connsiteY3" fmla="*/ 251091 h 1714500"/>
                <a:gd name="connsiteX4" fmla="*/ 857250 w 1714500"/>
                <a:gd name="connsiteY4" fmla="*/ 0 h 1714500"/>
                <a:gd name="connsiteX5" fmla="*/ 251091 w 1714500"/>
                <a:gd name="connsiteY5" fmla="*/ 251091 h 1714500"/>
                <a:gd name="connsiteX6" fmla="*/ 0 w 1714500"/>
                <a:gd name="connsiteY6" fmla="*/ 857250 h 1714500"/>
                <a:gd name="connsiteX7" fmla="*/ 251356 w 1714500"/>
                <a:gd name="connsiteY7" fmla="*/ 1463145 h 1714500"/>
                <a:gd name="connsiteX8" fmla="*/ 857250 w 1714500"/>
                <a:gd name="connsiteY8" fmla="*/ 1714500 h 1714500"/>
                <a:gd name="connsiteX9" fmla="*/ 1114425 w 1714500"/>
                <a:gd name="connsiteY9" fmla="*/ 1492575 h 1714500"/>
                <a:gd name="connsiteX10" fmla="*/ 600075 w 1714500"/>
                <a:gd name="connsiteY10" fmla="*/ 1492575 h 1714500"/>
                <a:gd name="connsiteX11" fmla="*/ 600075 w 1714500"/>
                <a:gd name="connsiteY11" fmla="*/ 1114425 h 1714500"/>
                <a:gd name="connsiteX12" fmla="*/ 685800 w 1714500"/>
                <a:gd name="connsiteY12" fmla="*/ 1028700 h 1714500"/>
                <a:gd name="connsiteX13" fmla="*/ 1028700 w 1714500"/>
                <a:gd name="connsiteY13" fmla="*/ 1028700 h 1714500"/>
                <a:gd name="connsiteX14" fmla="*/ 1089325 w 1714500"/>
                <a:gd name="connsiteY14" fmla="*/ 1053810 h 1714500"/>
                <a:gd name="connsiteX15" fmla="*/ 1114425 w 1714500"/>
                <a:gd name="connsiteY15" fmla="*/ 1114425 h 1714500"/>
                <a:gd name="connsiteX16" fmla="*/ 728663 w 1714500"/>
                <a:gd name="connsiteY16" fmla="*/ 642938 h 1714500"/>
                <a:gd name="connsiteX17" fmla="*/ 808039 w 1714500"/>
                <a:gd name="connsiteY17" fmla="*/ 524147 h 1714500"/>
                <a:gd name="connsiteX18" fmla="*/ 948187 w 1714500"/>
                <a:gd name="connsiteY18" fmla="*/ 552008 h 1714500"/>
                <a:gd name="connsiteX19" fmla="*/ 976040 w 1714500"/>
                <a:gd name="connsiteY19" fmla="*/ 692156 h 1714500"/>
                <a:gd name="connsiteX20" fmla="*/ 857250 w 1714500"/>
                <a:gd name="connsiteY20" fmla="*/ 771529 h 1714500"/>
                <a:gd name="connsiteX21" fmla="*/ 728663 w 1714500"/>
                <a:gd name="connsiteY21" fmla="*/ 642941 h 1714500"/>
                <a:gd name="connsiteX22" fmla="*/ 857250 w 1714500"/>
                <a:gd name="connsiteY22" fmla="*/ 171450 h 1714500"/>
                <a:gd name="connsiteX23" fmla="*/ 1359657 w 1714500"/>
                <a:gd name="connsiteY23" fmla="*/ 390044 h 1714500"/>
                <a:gd name="connsiteX24" fmla="*/ 1541247 w 1714500"/>
                <a:gd name="connsiteY24" fmla="*/ 907000 h 1714500"/>
                <a:gd name="connsiteX25" fmla="*/ 1285875 w 1714500"/>
                <a:gd name="connsiteY25" fmla="*/ 1391733 h 1714500"/>
                <a:gd name="connsiteX26" fmla="*/ 1285875 w 1714500"/>
                <a:gd name="connsiteY26" fmla="*/ 1114425 h 1714500"/>
                <a:gd name="connsiteX27" fmla="*/ 1221851 w 1714500"/>
                <a:gd name="connsiteY27" fmla="*/ 945542 h 1714500"/>
                <a:gd name="connsiteX28" fmla="*/ 1062383 w 1714500"/>
                <a:gd name="connsiteY28" fmla="*/ 860697 h 1714500"/>
                <a:gd name="connsiteX29" fmla="*/ 1157209 w 1714500"/>
                <a:gd name="connsiteY29" fmla="*/ 648255 h 1714500"/>
                <a:gd name="connsiteX30" fmla="*/ 1071719 w 1714500"/>
                <a:gd name="connsiteY30" fmla="*/ 431876 h 1714500"/>
                <a:gd name="connsiteX31" fmla="*/ 857250 w 1714500"/>
                <a:gd name="connsiteY31" fmla="*/ 341673 h 1714500"/>
                <a:gd name="connsiteX32" fmla="*/ 642781 w 1714500"/>
                <a:gd name="connsiteY32" fmla="*/ 431876 h 1714500"/>
                <a:gd name="connsiteX33" fmla="*/ 557281 w 1714500"/>
                <a:gd name="connsiteY33" fmla="*/ 648255 h 1714500"/>
                <a:gd name="connsiteX34" fmla="*/ 652118 w 1714500"/>
                <a:gd name="connsiteY34" fmla="*/ 860697 h 1714500"/>
                <a:gd name="connsiteX35" fmla="*/ 492649 w 1714500"/>
                <a:gd name="connsiteY35" fmla="*/ 945542 h 1714500"/>
                <a:gd name="connsiteX36" fmla="*/ 428625 w 1714500"/>
                <a:gd name="connsiteY36" fmla="*/ 1114425 h 1714500"/>
                <a:gd name="connsiteX37" fmla="*/ 428625 w 1714500"/>
                <a:gd name="connsiteY37" fmla="*/ 1391733 h 1714500"/>
                <a:gd name="connsiteX38" fmla="*/ 173253 w 1714500"/>
                <a:gd name="connsiteY38" fmla="*/ 907000 h 1714500"/>
                <a:gd name="connsiteX39" fmla="*/ 354843 w 1714500"/>
                <a:gd name="connsiteY39" fmla="*/ 390044 h 1714500"/>
                <a:gd name="connsiteX40" fmla="*/ 857250 w 1714500"/>
                <a:gd name="connsiteY40" fmla="*/ 17145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4500" h="1714500">
                  <a:moveTo>
                    <a:pt x="857250" y="1714500"/>
                  </a:moveTo>
                  <a:cubicBezTo>
                    <a:pt x="1084612" y="1714500"/>
                    <a:pt x="1302638" y="1624180"/>
                    <a:pt x="1463409" y="1463409"/>
                  </a:cubicBezTo>
                  <a:cubicBezTo>
                    <a:pt x="1624180" y="1302638"/>
                    <a:pt x="1714500" y="1084612"/>
                    <a:pt x="1714500" y="857250"/>
                  </a:cubicBezTo>
                  <a:cubicBezTo>
                    <a:pt x="1714500" y="629888"/>
                    <a:pt x="1624180" y="411862"/>
                    <a:pt x="1463409" y="251091"/>
                  </a:cubicBezTo>
                  <a:cubicBezTo>
                    <a:pt x="1302638" y="90320"/>
                    <a:pt x="1084612" y="0"/>
                    <a:pt x="857250" y="0"/>
                  </a:cubicBezTo>
                  <a:cubicBezTo>
                    <a:pt x="629888" y="0"/>
                    <a:pt x="411862" y="90318"/>
                    <a:pt x="251091" y="251091"/>
                  </a:cubicBezTo>
                  <a:cubicBezTo>
                    <a:pt x="90320" y="411864"/>
                    <a:pt x="0" y="629888"/>
                    <a:pt x="0" y="857250"/>
                  </a:cubicBezTo>
                  <a:cubicBezTo>
                    <a:pt x="265" y="1084534"/>
                    <a:pt x="90663" y="1302442"/>
                    <a:pt x="251356" y="1463145"/>
                  </a:cubicBezTo>
                  <a:cubicBezTo>
                    <a:pt x="412048" y="1623847"/>
                    <a:pt x="629966" y="1714236"/>
                    <a:pt x="857250" y="1714500"/>
                  </a:cubicBezTo>
                  <a:close/>
                  <a:moveTo>
                    <a:pt x="1114425" y="1492575"/>
                  </a:moveTo>
                  <a:cubicBezTo>
                    <a:pt x="949598" y="1559891"/>
                    <a:pt x="764902" y="1559891"/>
                    <a:pt x="600075" y="1492575"/>
                  </a:cubicBezTo>
                  <a:lnTo>
                    <a:pt x="600075" y="1114425"/>
                  </a:lnTo>
                  <a:cubicBezTo>
                    <a:pt x="600075" y="1067085"/>
                    <a:pt x="638460" y="1028700"/>
                    <a:pt x="685800" y="1028700"/>
                  </a:cubicBezTo>
                  <a:lnTo>
                    <a:pt x="1028700" y="1028700"/>
                  </a:lnTo>
                  <a:cubicBezTo>
                    <a:pt x="1051430" y="1028700"/>
                    <a:pt x="1073248" y="1037733"/>
                    <a:pt x="1089325" y="1053810"/>
                  </a:cubicBezTo>
                  <a:cubicBezTo>
                    <a:pt x="1105392" y="1069877"/>
                    <a:pt x="1114425" y="1091696"/>
                    <a:pt x="1114425" y="1114425"/>
                  </a:cubicBezTo>
                  <a:close/>
                  <a:moveTo>
                    <a:pt x="728663" y="642938"/>
                  </a:moveTo>
                  <a:cubicBezTo>
                    <a:pt x="728663" y="590928"/>
                    <a:pt x="760004" y="544045"/>
                    <a:pt x="808039" y="524147"/>
                  </a:cubicBezTo>
                  <a:cubicBezTo>
                    <a:pt x="856104" y="504247"/>
                    <a:pt x="911409" y="515230"/>
                    <a:pt x="948187" y="552008"/>
                  </a:cubicBezTo>
                  <a:cubicBezTo>
                    <a:pt x="984966" y="588787"/>
                    <a:pt x="995948" y="644086"/>
                    <a:pt x="976040" y="692156"/>
                  </a:cubicBezTo>
                  <a:cubicBezTo>
                    <a:pt x="956142" y="740185"/>
                    <a:pt x="909263" y="771529"/>
                    <a:pt x="857250" y="771529"/>
                  </a:cubicBezTo>
                  <a:cubicBezTo>
                    <a:pt x="786221" y="771529"/>
                    <a:pt x="728663" y="713971"/>
                    <a:pt x="728663" y="642941"/>
                  </a:cubicBezTo>
                  <a:close/>
                  <a:moveTo>
                    <a:pt x="857250" y="171450"/>
                  </a:moveTo>
                  <a:cubicBezTo>
                    <a:pt x="1047834" y="171259"/>
                    <a:pt x="1229884" y="250478"/>
                    <a:pt x="1359657" y="390044"/>
                  </a:cubicBezTo>
                  <a:cubicBezTo>
                    <a:pt x="1489430" y="529610"/>
                    <a:pt x="1555218" y="716906"/>
                    <a:pt x="1541247" y="907000"/>
                  </a:cubicBezTo>
                  <a:cubicBezTo>
                    <a:pt x="1527237" y="1097045"/>
                    <a:pt x="1434704" y="1272708"/>
                    <a:pt x="1285875" y="1391733"/>
                  </a:cubicBezTo>
                  <a:lnTo>
                    <a:pt x="1285875" y="1114425"/>
                  </a:lnTo>
                  <a:cubicBezTo>
                    <a:pt x="1285718" y="1052233"/>
                    <a:pt x="1262950" y="992186"/>
                    <a:pt x="1221851" y="945542"/>
                  </a:cubicBezTo>
                  <a:cubicBezTo>
                    <a:pt x="1180752" y="898849"/>
                    <a:pt x="1124066" y="868695"/>
                    <a:pt x="1062383" y="860697"/>
                  </a:cubicBezTo>
                  <a:cubicBezTo>
                    <a:pt x="1121273" y="805511"/>
                    <a:pt x="1155455" y="728935"/>
                    <a:pt x="1157209" y="648255"/>
                  </a:cubicBezTo>
                  <a:cubicBezTo>
                    <a:pt x="1158973" y="567544"/>
                    <a:pt x="1128131" y="489551"/>
                    <a:pt x="1071719" y="431876"/>
                  </a:cubicBezTo>
                  <a:cubicBezTo>
                    <a:pt x="1015268" y="374203"/>
                    <a:pt x="937969" y="341673"/>
                    <a:pt x="857250" y="341673"/>
                  </a:cubicBezTo>
                  <a:cubicBezTo>
                    <a:pt x="776531" y="341673"/>
                    <a:pt x="699232" y="374203"/>
                    <a:pt x="642781" y="431876"/>
                  </a:cubicBezTo>
                  <a:cubicBezTo>
                    <a:pt x="586369" y="489549"/>
                    <a:pt x="555527" y="567547"/>
                    <a:pt x="557281" y="648255"/>
                  </a:cubicBezTo>
                  <a:cubicBezTo>
                    <a:pt x="559045" y="728929"/>
                    <a:pt x="593217" y="805509"/>
                    <a:pt x="652118" y="860697"/>
                  </a:cubicBezTo>
                  <a:cubicBezTo>
                    <a:pt x="590425" y="868695"/>
                    <a:pt x="533748" y="898849"/>
                    <a:pt x="492649" y="945542"/>
                  </a:cubicBezTo>
                  <a:cubicBezTo>
                    <a:pt x="451550" y="992196"/>
                    <a:pt x="428782" y="1052243"/>
                    <a:pt x="428625" y="1114425"/>
                  </a:cubicBezTo>
                  <a:lnTo>
                    <a:pt x="428625" y="1391733"/>
                  </a:lnTo>
                  <a:cubicBezTo>
                    <a:pt x="279797" y="1272717"/>
                    <a:pt x="187253" y="1097055"/>
                    <a:pt x="173253" y="907000"/>
                  </a:cubicBezTo>
                  <a:cubicBezTo>
                    <a:pt x="159282" y="716916"/>
                    <a:pt x="225070" y="529614"/>
                    <a:pt x="354843" y="390044"/>
                  </a:cubicBezTo>
                  <a:cubicBezTo>
                    <a:pt x="484616" y="250474"/>
                    <a:pt x="666666" y="171254"/>
                    <a:pt x="857250" y="17145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8C1D65AE-8B95-455D-9D77-AB59AE61AB54}"/>
                </a:ext>
              </a:extLst>
            </p:cNvPr>
            <p:cNvSpPr/>
            <p:nvPr/>
          </p:nvSpPr>
          <p:spPr>
            <a:xfrm>
              <a:off x="-5464090" y="4866188"/>
              <a:ext cx="1714500" cy="1714500"/>
            </a:xfrm>
            <a:custGeom>
              <a:avLst/>
              <a:gdLst>
                <a:gd name="connsiteX0" fmla="*/ 857250 w 1714500"/>
                <a:gd name="connsiteY0" fmla="*/ 0 h 1714500"/>
                <a:gd name="connsiteX1" fmla="*/ 251091 w 1714500"/>
                <a:gd name="connsiteY1" fmla="*/ 251091 h 1714500"/>
                <a:gd name="connsiteX2" fmla="*/ 0 w 1714500"/>
                <a:gd name="connsiteY2" fmla="*/ 857250 h 1714500"/>
                <a:gd name="connsiteX3" fmla="*/ 251091 w 1714500"/>
                <a:gd name="connsiteY3" fmla="*/ 1463409 h 1714500"/>
                <a:gd name="connsiteX4" fmla="*/ 857250 w 1714500"/>
                <a:gd name="connsiteY4" fmla="*/ 1714500 h 1714500"/>
                <a:gd name="connsiteX5" fmla="*/ 1463409 w 1714500"/>
                <a:gd name="connsiteY5" fmla="*/ 1463409 h 1714500"/>
                <a:gd name="connsiteX6" fmla="*/ 1714500 w 1714500"/>
                <a:gd name="connsiteY6" fmla="*/ 857250 h 1714500"/>
                <a:gd name="connsiteX7" fmla="*/ 1463145 w 1714500"/>
                <a:gd name="connsiteY7" fmla="*/ 251356 h 1714500"/>
                <a:gd name="connsiteX8" fmla="*/ 857250 w 1714500"/>
                <a:gd name="connsiteY8" fmla="*/ 0 h 1714500"/>
                <a:gd name="connsiteX9" fmla="*/ 857250 w 1714500"/>
                <a:gd name="connsiteY9" fmla="*/ 1543050 h 1714500"/>
                <a:gd name="connsiteX10" fmla="*/ 372331 w 1714500"/>
                <a:gd name="connsiteY10" fmla="*/ 1342169 h 1714500"/>
                <a:gd name="connsiteX11" fmla="*/ 171450 w 1714500"/>
                <a:gd name="connsiteY11" fmla="*/ 857250 h 1714500"/>
                <a:gd name="connsiteX12" fmla="*/ 372331 w 1714500"/>
                <a:gd name="connsiteY12" fmla="*/ 372331 h 1714500"/>
                <a:gd name="connsiteX13" fmla="*/ 857250 w 1714500"/>
                <a:gd name="connsiteY13" fmla="*/ 171450 h 1714500"/>
                <a:gd name="connsiteX14" fmla="*/ 1342169 w 1714500"/>
                <a:gd name="connsiteY14" fmla="*/ 372331 h 1714500"/>
                <a:gd name="connsiteX15" fmla="*/ 1543050 w 1714500"/>
                <a:gd name="connsiteY15" fmla="*/ 857250 h 1714500"/>
                <a:gd name="connsiteX16" fmla="*/ 1341944 w 1714500"/>
                <a:gd name="connsiteY16" fmla="*/ 1341944 h 1714500"/>
                <a:gd name="connsiteX17" fmla="*/ 857250 w 1714500"/>
                <a:gd name="connsiteY17" fmla="*/ 154305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14500" h="1714500">
                  <a:moveTo>
                    <a:pt x="857250" y="0"/>
                  </a:moveTo>
                  <a:cubicBezTo>
                    <a:pt x="629888" y="0"/>
                    <a:pt x="411862" y="90320"/>
                    <a:pt x="251091" y="251091"/>
                  </a:cubicBezTo>
                  <a:cubicBezTo>
                    <a:pt x="90320" y="411862"/>
                    <a:pt x="0" y="629888"/>
                    <a:pt x="0" y="857250"/>
                  </a:cubicBezTo>
                  <a:cubicBezTo>
                    <a:pt x="0" y="1084612"/>
                    <a:pt x="90320" y="1302638"/>
                    <a:pt x="251091" y="1463409"/>
                  </a:cubicBezTo>
                  <a:cubicBezTo>
                    <a:pt x="411862" y="1624180"/>
                    <a:pt x="629888" y="1714500"/>
                    <a:pt x="857250" y="1714500"/>
                  </a:cubicBezTo>
                  <a:cubicBezTo>
                    <a:pt x="1084612" y="1714500"/>
                    <a:pt x="1302638" y="1624180"/>
                    <a:pt x="1463409" y="1463409"/>
                  </a:cubicBezTo>
                  <a:cubicBezTo>
                    <a:pt x="1624180" y="1302638"/>
                    <a:pt x="1714500" y="1084612"/>
                    <a:pt x="1714500" y="857250"/>
                  </a:cubicBezTo>
                  <a:cubicBezTo>
                    <a:pt x="1714236" y="629966"/>
                    <a:pt x="1623837" y="412058"/>
                    <a:pt x="1463145" y="251356"/>
                  </a:cubicBezTo>
                  <a:cubicBezTo>
                    <a:pt x="1302452" y="90653"/>
                    <a:pt x="1084534" y="265"/>
                    <a:pt x="857250" y="0"/>
                  </a:cubicBezTo>
                  <a:close/>
                  <a:moveTo>
                    <a:pt x="857250" y="1543050"/>
                  </a:moveTo>
                  <a:cubicBezTo>
                    <a:pt x="675356" y="1543050"/>
                    <a:pt x="500918" y="1470796"/>
                    <a:pt x="372331" y="1342169"/>
                  </a:cubicBezTo>
                  <a:cubicBezTo>
                    <a:pt x="243704" y="1213582"/>
                    <a:pt x="171450" y="1039144"/>
                    <a:pt x="171450" y="857250"/>
                  </a:cubicBezTo>
                  <a:cubicBezTo>
                    <a:pt x="171450" y="675356"/>
                    <a:pt x="243704" y="500918"/>
                    <a:pt x="372331" y="372331"/>
                  </a:cubicBezTo>
                  <a:cubicBezTo>
                    <a:pt x="500918" y="243704"/>
                    <a:pt x="675356" y="171450"/>
                    <a:pt x="857250" y="171450"/>
                  </a:cubicBezTo>
                  <a:cubicBezTo>
                    <a:pt x="1039144" y="171450"/>
                    <a:pt x="1213582" y="243704"/>
                    <a:pt x="1342169" y="372331"/>
                  </a:cubicBezTo>
                  <a:cubicBezTo>
                    <a:pt x="1470796" y="500918"/>
                    <a:pt x="1543050" y="675356"/>
                    <a:pt x="1543050" y="857250"/>
                  </a:cubicBezTo>
                  <a:cubicBezTo>
                    <a:pt x="1542854" y="1039075"/>
                    <a:pt x="1470532" y="1213396"/>
                    <a:pt x="1341944" y="1341944"/>
                  </a:cubicBezTo>
                  <a:cubicBezTo>
                    <a:pt x="1213396" y="1470532"/>
                    <a:pt x="1039075" y="1542864"/>
                    <a:pt x="857250" y="154305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64816CBE-5201-47FE-96A0-1A26DF5CACC3}"/>
                </a:ext>
              </a:extLst>
            </p:cNvPr>
            <p:cNvSpPr/>
            <p:nvPr/>
          </p:nvSpPr>
          <p:spPr>
            <a:xfrm>
              <a:off x="-9064540" y="4866188"/>
              <a:ext cx="1714500" cy="1714500"/>
            </a:xfrm>
            <a:custGeom>
              <a:avLst/>
              <a:gdLst>
                <a:gd name="connsiteX0" fmla="*/ 857250 w 1714500"/>
                <a:gd name="connsiteY0" fmla="*/ 1714500 h 1714500"/>
                <a:gd name="connsiteX1" fmla="*/ 1463409 w 1714500"/>
                <a:gd name="connsiteY1" fmla="*/ 1463409 h 1714500"/>
                <a:gd name="connsiteX2" fmla="*/ 1714500 w 1714500"/>
                <a:gd name="connsiteY2" fmla="*/ 857250 h 1714500"/>
                <a:gd name="connsiteX3" fmla="*/ 1463409 w 1714500"/>
                <a:gd name="connsiteY3" fmla="*/ 251091 h 1714500"/>
                <a:gd name="connsiteX4" fmla="*/ 857250 w 1714500"/>
                <a:gd name="connsiteY4" fmla="*/ 0 h 1714500"/>
                <a:gd name="connsiteX5" fmla="*/ 251091 w 1714500"/>
                <a:gd name="connsiteY5" fmla="*/ 251091 h 1714500"/>
                <a:gd name="connsiteX6" fmla="*/ 0 w 1714500"/>
                <a:gd name="connsiteY6" fmla="*/ 857250 h 1714500"/>
                <a:gd name="connsiteX7" fmla="*/ 251355 w 1714500"/>
                <a:gd name="connsiteY7" fmla="*/ 1463145 h 1714500"/>
                <a:gd name="connsiteX8" fmla="*/ 857250 w 1714500"/>
                <a:gd name="connsiteY8" fmla="*/ 1714500 h 1714500"/>
                <a:gd name="connsiteX9" fmla="*/ 857250 w 1714500"/>
                <a:gd name="connsiteY9" fmla="*/ 171450 h 1714500"/>
                <a:gd name="connsiteX10" fmla="*/ 1342169 w 1714500"/>
                <a:gd name="connsiteY10" fmla="*/ 372331 h 1714500"/>
                <a:gd name="connsiteX11" fmla="*/ 1543050 w 1714500"/>
                <a:gd name="connsiteY11" fmla="*/ 857250 h 1714500"/>
                <a:gd name="connsiteX12" fmla="*/ 1342169 w 1714500"/>
                <a:gd name="connsiteY12" fmla="*/ 1342169 h 1714500"/>
                <a:gd name="connsiteX13" fmla="*/ 857250 w 1714500"/>
                <a:gd name="connsiteY13" fmla="*/ 1543050 h 1714500"/>
                <a:gd name="connsiteX14" fmla="*/ 372331 w 1714500"/>
                <a:gd name="connsiteY14" fmla="*/ 1342169 h 1714500"/>
                <a:gd name="connsiteX15" fmla="*/ 171450 w 1714500"/>
                <a:gd name="connsiteY15" fmla="*/ 857250 h 1714500"/>
                <a:gd name="connsiteX16" fmla="*/ 372556 w 1714500"/>
                <a:gd name="connsiteY16" fmla="*/ 372556 h 1714500"/>
                <a:gd name="connsiteX17" fmla="*/ 857250 w 1714500"/>
                <a:gd name="connsiteY17" fmla="*/ 17145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14500" h="1714500">
                  <a:moveTo>
                    <a:pt x="857250" y="1714500"/>
                  </a:moveTo>
                  <a:cubicBezTo>
                    <a:pt x="1084612" y="1714500"/>
                    <a:pt x="1302638" y="1624180"/>
                    <a:pt x="1463409" y="1463409"/>
                  </a:cubicBezTo>
                  <a:cubicBezTo>
                    <a:pt x="1624180" y="1302638"/>
                    <a:pt x="1714500" y="1084612"/>
                    <a:pt x="1714500" y="857250"/>
                  </a:cubicBezTo>
                  <a:cubicBezTo>
                    <a:pt x="1714500" y="629888"/>
                    <a:pt x="1624180" y="411862"/>
                    <a:pt x="1463409" y="251091"/>
                  </a:cubicBezTo>
                  <a:cubicBezTo>
                    <a:pt x="1302638" y="90320"/>
                    <a:pt x="1084612" y="0"/>
                    <a:pt x="857250" y="0"/>
                  </a:cubicBezTo>
                  <a:cubicBezTo>
                    <a:pt x="629888" y="0"/>
                    <a:pt x="411862" y="90320"/>
                    <a:pt x="251091" y="251091"/>
                  </a:cubicBezTo>
                  <a:cubicBezTo>
                    <a:pt x="90320" y="411862"/>
                    <a:pt x="0" y="629888"/>
                    <a:pt x="0" y="857250"/>
                  </a:cubicBezTo>
                  <a:cubicBezTo>
                    <a:pt x="267" y="1084534"/>
                    <a:pt x="90662" y="1302442"/>
                    <a:pt x="251355" y="1463145"/>
                  </a:cubicBezTo>
                  <a:cubicBezTo>
                    <a:pt x="412048" y="1623847"/>
                    <a:pt x="629966" y="1714236"/>
                    <a:pt x="857250" y="1714500"/>
                  </a:cubicBezTo>
                  <a:close/>
                  <a:moveTo>
                    <a:pt x="857250" y="171450"/>
                  </a:moveTo>
                  <a:cubicBezTo>
                    <a:pt x="1039144" y="171450"/>
                    <a:pt x="1213582" y="243704"/>
                    <a:pt x="1342169" y="372331"/>
                  </a:cubicBezTo>
                  <a:cubicBezTo>
                    <a:pt x="1470796" y="500918"/>
                    <a:pt x="1543050" y="675356"/>
                    <a:pt x="1543050" y="857250"/>
                  </a:cubicBezTo>
                  <a:cubicBezTo>
                    <a:pt x="1543050" y="1039144"/>
                    <a:pt x="1470796" y="1213582"/>
                    <a:pt x="1342169" y="1342169"/>
                  </a:cubicBezTo>
                  <a:cubicBezTo>
                    <a:pt x="1213582" y="1470796"/>
                    <a:pt x="1039144" y="1543050"/>
                    <a:pt x="857250" y="1543050"/>
                  </a:cubicBezTo>
                  <a:cubicBezTo>
                    <a:pt x="675356" y="1543050"/>
                    <a:pt x="500918" y="1470796"/>
                    <a:pt x="372331" y="1342169"/>
                  </a:cubicBezTo>
                  <a:cubicBezTo>
                    <a:pt x="243704" y="1213582"/>
                    <a:pt x="171450" y="1039144"/>
                    <a:pt x="171450" y="857250"/>
                  </a:cubicBezTo>
                  <a:cubicBezTo>
                    <a:pt x="171641" y="675425"/>
                    <a:pt x="243968" y="501104"/>
                    <a:pt x="372556" y="372556"/>
                  </a:cubicBezTo>
                  <a:cubicBezTo>
                    <a:pt x="501104" y="243969"/>
                    <a:pt x="675425" y="171636"/>
                    <a:pt x="857250" y="17145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41E9FD2-19AA-4272-BE3D-C6C3BE3DBC30}"/>
                </a:ext>
              </a:extLst>
            </p:cNvPr>
            <p:cNvSpPr/>
            <p:nvPr/>
          </p:nvSpPr>
          <p:spPr>
            <a:xfrm>
              <a:off x="-4906877" y="5209088"/>
              <a:ext cx="600064" cy="771525"/>
            </a:xfrm>
            <a:custGeom>
              <a:avLst/>
              <a:gdLst>
                <a:gd name="connsiteX0" fmla="*/ 300038 w 600064"/>
                <a:gd name="connsiteY0" fmla="*/ 0 h 771525"/>
                <a:gd name="connsiteX1" fmla="*/ 87871 w 600064"/>
                <a:gd name="connsiteY1" fmla="*/ 87871 h 771525"/>
                <a:gd name="connsiteX2" fmla="*/ 0 w 600064"/>
                <a:gd name="connsiteY2" fmla="*/ 300038 h 771525"/>
                <a:gd name="connsiteX3" fmla="*/ 171450 w 600064"/>
                <a:gd name="connsiteY3" fmla="*/ 300038 h 771525"/>
                <a:gd name="connsiteX4" fmla="*/ 250826 w 600064"/>
                <a:gd name="connsiteY4" fmla="*/ 181247 h 771525"/>
                <a:gd name="connsiteX5" fmla="*/ 390974 w 600064"/>
                <a:gd name="connsiteY5" fmla="*/ 209110 h 771525"/>
                <a:gd name="connsiteX6" fmla="*/ 418837 w 600064"/>
                <a:gd name="connsiteY6" fmla="*/ 349258 h 771525"/>
                <a:gd name="connsiteX7" fmla="*/ 300047 w 600064"/>
                <a:gd name="connsiteY7" fmla="*/ 428625 h 771525"/>
                <a:gd name="connsiteX8" fmla="*/ 214322 w 600064"/>
                <a:gd name="connsiteY8" fmla="*/ 514350 h 771525"/>
                <a:gd name="connsiteX9" fmla="*/ 214322 w 600064"/>
                <a:gd name="connsiteY9" fmla="*/ 771525 h 771525"/>
                <a:gd name="connsiteX10" fmla="*/ 385772 w 600064"/>
                <a:gd name="connsiteY10" fmla="*/ 771525 h 771525"/>
                <a:gd name="connsiteX11" fmla="*/ 385772 w 600064"/>
                <a:gd name="connsiteY11" fmla="*/ 587564 h 771525"/>
                <a:gd name="connsiteX12" fmla="*/ 583822 w 600064"/>
                <a:gd name="connsiteY12" fmla="*/ 397362 h 771525"/>
                <a:gd name="connsiteX13" fmla="*/ 544173 w 600064"/>
                <a:gd name="connsiteY13" fmla="*/ 125688 h 771525"/>
                <a:gd name="connsiteX14" fmla="*/ 300047 w 600064"/>
                <a:gd name="connsiteY14" fmla="*/ 10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0064" h="771525">
                  <a:moveTo>
                    <a:pt x="300038" y="0"/>
                  </a:moveTo>
                  <a:cubicBezTo>
                    <a:pt x="220475" y="0"/>
                    <a:pt x="144165" y="31615"/>
                    <a:pt x="87871" y="87871"/>
                  </a:cubicBezTo>
                  <a:cubicBezTo>
                    <a:pt x="31615" y="144165"/>
                    <a:pt x="0" y="220475"/>
                    <a:pt x="0" y="300038"/>
                  </a:cubicBezTo>
                  <a:lnTo>
                    <a:pt x="171450" y="300038"/>
                  </a:lnTo>
                  <a:cubicBezTo>
                    <a:pt x="171450" y="248025"/>
                    <a:pt x="202791" y="201145"/>
                    <a:pt x="250826" y="181247"/>
                  </a:cubicBezTo>
                  <a:cubicBezTo>
                    <a:pt x="298891" y="161349"/>
                    <a:pt x="354196" y="172332"/>
                    <a:pt x="390974" y="209110"/>
                  </a:cubicBezTo>
                  <a:cubicBezTo>
                    <a:pt x="427753" y="245889"/>
                    <a:pt x="438735" y="301184"/>
                    <a:pt x="418837" y="349258"/>
                  </a:cubicBezTo>
                  <a:cubicBezTo>
                    <a:pt x="398930" y="397284"/>
                    <a:pt x="352051" y="428625"/>
                    <a:pt x="300047" y="428625"/>
                  </a:cubicBezTo>
                  <a:cubicBezTo>
                    <a:pt x="252708" y="428625"/>
                    <a:pt x="214322" y="467010"/>
                    <a:pt x="214322" y="514350"/>
                  </a:cubicBezTo>
                  <a:lnTo>
                    <a:pt x="214322" y="771525"/>
                  </a:lnTo>
                  <a:lnTo>
                    <a:pt x="385772" y="771525"/>
                  </a:lnTo>
                  <a:lnTo>
                    <a:pt x="385772" y="587564"/>
                  </a:lnTo>
                  <a:cubicBezTo>
                    <a:pt x="478610" y="559858"/>
                    <a:pt x="552402" y="489015"/>
                    <a:pt x="583822" y="397362"/>
                  </a:cubicBezTo>
                  <a:cubicBezTo>
                    <a:pt x="615280" y="305710"/>
                    <a:pt x="600506" y="204515"/>
                    <a:pt x="544173" y="125688"/>
                  </a:cubicBezTo>
                  <a:cubicBezTo>
                    <a:pt x="487878" y="46811"/>
                    <a:pt x="396951" y="10"/>
                    <a:pt x="300047" y="10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EAD5B4CC-933C-4491-BFBD-A6E5F3EE05B8}"/>
                </a:ext>
              </a:extLst>
            </p:cNvPr>
            <p:cNvSpPr/>
            <p:nvPr/>
          </p:nvSpPr>
          <p:spPr>
            <a:xfrm>
              <a:off x="-4692565" y="6066338"/>
              <a:ext cx="171450" cy="171450"/>
            </a:xfrm>
            <a:custGeom>
              <a:avLst/>
              <a:gdLst>
                <a:gd name="connsiteX0" fmla="*/ 0 w 171450"/>
                <a:gd name="connsiteY0" fmla="*/ 0 h 171450"/>
                <a:gd name="connsiteX1" fmla="*/ 171450 w 171450"/>
                <a:gd name="connsiteY1" fmla="*/ 0 h 171450"/>
                <a:gd name="connsiteX2" fmla="*/ 171450 w 171450"/>
                <a:gd name="connsiteY2" fmla="*/ 171450 h 171450"/>
                <a:gd name="connsiteX3" fmla="*/ 0 w 171450"/>
                <a:gd name="connsiteY3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171450">
                  <a:moveTo>
                    <a:pt x="0" y="0"/>
                  </a:moveTo>
                  <a:lnTo>
                    <a:pt x="171450" y="0"/>
                  </a:lnTo>
                  <a:lnTo>
                    <a:pt x="171450" y="171450"/>
                  </a:lnTo>
                  <a:lnTo>
                    <a:pt x="0" y="171450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EB77C312-8270-475D-A369-F30513492997}"/>
                </a:ext>
              </a:extLst>
            </p:cNvPr>
            <p:cNvSpPr/>
            <p:nvPr/>
          </p:nvSpPr>
          <p:spPr>
            <a:xfrm>
              <a:off x="-8631633" y="5390031"/>
              <a:ext cx="848667" cy="691884"/>
            </a:xfrm>
            <a:custGeom>
              <a:avLst/>
              <a:gdLst>
                <a:gd name="connsiteX0" fmla="*/ 242509 w 848667"/>
                <a:gd name="connsiteY0" fmla="*/ 691884 h 691884"/>
                <a:gd name="connsiteX1" fmla="*/ 303134 w 848667"/>
                <a:gd name="connsiteY1" fmla="*/ 666745 h 691884"/>
                <a:gd name="connsiteX2" fmla="*/ 848668 w 848667"/>
                <a:gd name="connsiteY2" fmla="*/ 121200 h 691884"/>
                <a:gd name="connsiteX3" fmla="*/ 727477 w 848667"/>
                <a:gd name="connsiteY3" fmla="*/ 0 h 691884"/>
                <a:gd name="connsiteX4" fmla="*/ 242518 w 848667"/>
                <a:gd name="connsiteY4" fmla="*/ 484919 h 691884"/>
                <a:gd name="connsiteX5" fmla="*/ 121191 w 848667"/>
                <a:gd name="connsiteY5" fmla="*/ 363719 h 691884"/>
                <a:gd name="connsiteX6" fmla="*/ 0 w 848667"/>
                <a:gd name="connsiteY6" fmla="*/ 484919 h 691884"/>
                <a:gd name="connsiteX7" fmla="*/ 181894 w 848667"/>
                <a:gd name="connsiteY7" fmla="*/ 666745 h 691884"/>
                <a:gd name="connsiteX8" fmla="*/ 242509 w 848667"/>
                <a:gd name="connsiteY8" fmla="*/ 691884 h 691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8667" h="691884">
                  <a:moveTo>
                    <a:pt x="242509" y="691884"/>
                  </a:moveTo>
                  <a:cubicBezTo>
                    <a:pt x="265238" y="691884"/>
                    <a:pt x="287056" y="682812"/>
                    <a:pt x="303134" y="666745"/>
                  </a:cubicBezTo>
                  <a:lnTo>
                    <a:pt x="848668" y="121200"/>
                  </a:lnTo>
                  <a:lnTo>
                    <a:pt x="727477" y="0"/>
                  </a:lnTo>
                  <a:lnTo>
                    <a:pt x="242518" y="484919"/>
                  </a:lnTo>
                  <a:lnTo>
                    <a:pt x="121191" y="363719"/>
                  </a:lnTo>
                  <a:lnTo>
                    <a:pt x="0" y="484919"/>
                  </a:lnTo>
                  <a:lnTo>
                    <a:pt x="181894" y="666745"/>
                  </a:lnTo>
                  <a:cubicBezTo>
                    <a:pt x="197961" y="682812"/>
                    <a:pt x="219779" y="691884"/>
                    <a:pt x="242509" y="691884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75E02D06-FABC-4FA4-BE9F-0A3CB1AD8A5C}"/>
                </a:ext>
              </a:extLst>
            </p:cNvPr>
            <p:cNvSpPr/>
            <p:nvPr/>
          </p:nvSpPr>
          <p:spPr>
            <a:xfrm>
              <a:off x="-8464436" y="2514790"/>
              <a:ext cx="1028404" cy="2109113"/>
            </a:xfrm>
            <a:custGeom>
              <a:avLst/>
              <a:gdLst>
                <a:gd name="connsiteX0" fmla="*/ 31322 w 1028404"/>
                <a:gd name="connsiteY0" fmla="*/ 2109114 h 2109113"/>
                <a:gd name="connsiteX1" fmla="*/ 200205 w 1028404"/>
                <a:gd name="connsiteY1" fmla="*/ 2079262 h 2109113"/>
                <a:gd name="connsiteX2" fmla="*/ 200166 w 1028404"/>
                <a:gd name="connsiteY2" fmla="*/ 2079262 h 2109113"/>
                <a:gd name="connsiteX3" fmla="*/ 241265 w 1028404"/>
                <a:gd name="connsiteY3" fmla="*/ 1244634 h 2109113"/>
                <a:gd name="connsiteX4" fmla="*/ 640460 w 1028404"/>
                <a:gd name="connsiteY4" fmla="*/ 510495 h 2109113"/>
                <a:gd name="connsiteX5" fmla="*/ 761161 w 1028404"/>
                <a:gd name="connsiteY5" fmla="*/ 631195 h 2109113"/>
                <a:gd name="connsiteX6" fmla="*/ 821785 w 1028404"/>
                <a:gd name="connsiteY6" fmla="*/ 656305 h 2109113"/>
                <a:gd name="connsiteX7" fmla="*/ 844671 w 1028404"/>
                <a:gd name="connsiteY7" fmla="*/ 653161 h 2109113"/>
                <a:gd name="connsiteX8" fmla="*/ 904679 w 1028404"/>
                <a:gd name="connsiteY8" fmla="*/ 591360 h 2109113"/>
                <a:gd name="connsiteX9" fmla="*/ 1025879 w 1028404"/>
                <a:gd name="connsiteY9" fmla="*/ 106402 h 2109113"/>
                <a:gd name="connsiteX10" fmla="*/ 1003336 w 1028404"/>
                <a:gd name="connsiteY10" fmla="*/ 25154 h 2109113"/>
                <a:gd name="connsiteX11" fmla="*/ 922167 w 1028404"/>
                <a:gd name="connsiteY11" fmla="*/ 2493 h 2109113"/>
                <a:gd name="connsiteX12" fmla="*/ 437208 w 1028404"/>
                <a:gd name="connsiteY12" fmla="*/ 123889 h 2109113"/>
                <a:gd name="connsiteX13" fmla="*/ 375359 w 1028404"/>
                <a:gd name="connsiteY13" fmla="*/ 184161 h 2109113"/>
                <a:gd name="connsiteX14" fmla="*/ 397324 w 1028404"/>
                <a:gd name="connsiteY14" fmla="*/ 267633 h 2109113"/>
                <a:gd name="connsiteX15" fmla="*/ 518995 w 1028404"/>
                <a:gd name="connsiteY15" fmla="*/ 389294 h 2109113"/>
                <a:gd name="connsiteX16" fmla="*/ 1 w 1028404"/>
                <a:gd name="connsiteY16" fmla="*/ 1751293 h 2109113"/>
                <a:gd name="connsiteX17" fmla="*/ 31313 w 1028404"/>
                <a:gd name="connsiteY17" fmla="*/ 2109114 h 2109113"/>
                <a:gd name="connsiteX18" fmla="*/ 825116 w 1028404"/>
                <a:gd name="connsiteY18" fmla="*/ 203570 h 2109113"/>
                <a:gd name="connsiteX19" fmla="*/ 775327 w 1028404"/>
                <a:gd name="connsiteY19" fmla="*/ 402961 h 2109113"/>
                <a:gd name="connsiteX20" fmla="*/ 625803 w 1028404"/>
                <a:gd name="connsiteY20" fmla="*/ 253476 h 210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404" h="2109113">
                  <a:moveTo>
                    <a:pt x="31322" y="2109114"/>
                  </a:moveTo>
                  <a:lnTo>
                    <a:pt x="200205" y="2079262"/>
                  </a:lnTo>
                  <a:lnTo>
                    <a:pt x="200166" y="2079262"/>
                  </a:lnTo>
                  <a:cubicBezTo>
                    <a:pt x="150994" y="1801493"/>
                    <a:pt x="165034" y="1516230"/>
                    <a:pt x="241265" y="1244634"/>
                  </a:cubicBezTo>
                  <a:cubicBezTo>
                    <a:pt x="317507" y="973037"/>
                    <a:pt x="453932" y="722132"/>
                    <a:pt x="640460" y="510495"/>
                  </a:cubicBezTo>
                  <a:lnTo>
                    <a:pt x="761161" y="631195"/>
                  </a:lnTo>
                  <a:cubicBezTo>
                    <a:pt x="777238" y="647272"/>
                    <a:pt x="799056" y="656305"/>
                    <a:pt x="821785" y="656305"/>
                  </a:cubicBezTo>
                  <a:cubicBezTo>
                    <a:pt x="829515" y="656345"/>
                    <a:pt x="837206" y="655267"/>
                    <a:pt x="844671" y="653161"/>
                  </a:cubicBezTo>
                  <a:cubicBezTo>
                    <a:pt x="874327" y="644823"/>
                    <a:pt x="897213" y="621241"/>
                    <a:pt x="904679" y="591360"/>
                  </a:cubicBezTo>
                  <a:lnTo>
                    <a:pt x="1025879" y="106402"/>
                  </a:lnTo>
                  <a:cubicBezTo>
                    <a:pt x="1033110" y="77235"/>
                    <a:pt x="1024576" y="46433"/>
                    <a:pt x="1003336" y="25154"/>
                  </a:cubicBezTo>
                  <a:cubicBezTo>
                    <a:pt x="982135" y="3914"/>
                    <a:pt x="951323" y="-4698"/>
                    <a:pt x="922167" y="2493"/>
                  </a:cubicBezTo>
                  <a:lnTo>
                    <a:pt x="437208" y="123889"/>
                  </a:lnTo>
                  <a:cubicBezTo>
                    <a:pt x="407239" y="131355"/>
                    <a:pt x="383628" y="154388"/>
                    <a:pt x="375359" y="184161"/>
                  </a:cubicBezTo>
                  <a:cubicBezTo>
                    <a:pt x="367129" y="213906"/>
                    <a:pt x="375516" y="245815"/>
                    <a:pt x="397324" y="267633"/>
                  </a:cubicBezTo>
                  <a:lnTo>
                    <a:pt x="518995" y="389294"/>
                  </a:lnTo>
                  <a:cubicBezTo>
                    <a:pt x="184354" y="763996"/>
                    <a:pt x="-460" y="1248915"/>
                    <a:pt x="1" y="1751293"/>
                  </a:cubicBezTo>
                  <a:cubicBezTo>
                    <a:pt x="1" y="1871230"/>
                    <a:pt x="10494" y="1990980"/>
                    <a:pt x="31313" y="2109114"/>
                  </a:cubicBezTo>
                  <a:close/>
                  <a:moveTo>
                    <a:pt x="825116" y="203570"/>
                  </a:moveTo>
                  <a:lnTo>
                    <a:pt x="775327" y="402961"/>
                  </a:lnTo>
                  <a:lnTo>
                    <a:pt x="625803" y="253476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E2D72FF8-9936-4311-95C6-78FDE733E0C6}"/>
                </a:ext>
              </a:extLst>
            </p:cNvPr>
            <p:cNvSpPr/>
            <p:nvPr/>
          </p:nvSpPr>
          <p:spPr>
            <a:xfrm>
              <a:off x="-5423196" y="2510278"/>
              <a:ext cx="1330640" cy="2098694"/>
            </a:xfrm>
            <a:custGeom>
              <a:avLst/>
              <a:gdLst>
                <a:gd name="connsiteX0" fmla="*/ 883859 w 1330640"/>
                <a:gd name="connsiteY0" fmla="*/ 1498659 h 2098694"/>
                <a:gd name="connsiteX1" fmla="*/ 730583 w 1330640"/>
                <a:gd name="connsiteY1" fmla="*/ 1498659 h 2098694"/>
                <a:gd name="connsiteX2" fmla="*/ 655997 w 1330640"/>
                <a:gd name="connsiteY2" fmla="*/ 1542168 h 2098694"/>
                <a:gd name="connsiteX3" fmla="*/ 657104 w 1330640"/>
                <a:gd name="connsiteY3" fmla="*/ 1628550 h 2098694"/>
                <a:gd name="connsiteX4" fmla="*/ 914279 w 1330640"/>
                <a:gd name="connsiteY4" fmla="*/ 2057175 h 2098694"/>
                <a:gd name="connsiteX5" fmla="*/ 987758 w 1330640"/>
                <a:gd name="connsiteY5" fmla="*/ 2098695 h 2098694"/>
                <a:gd name="connsiteX6" fmla="*/ 1061236 w 1330640"/>
                <a:gd name="connsiteY6" fmla="*/ 2057175 h 2098694"/>
                <a:gd name="connsiteX7" fmla="*/ 1318411 w 1330640"/>
                <a:gd name="connsiteY7" fmla="*/ 1628550 h 2098694"/>
                <a:gd name="connsiteX8" fmla="*/ 1319518 w 1330640"/>
                <a:gd name="connsiteY8" fmla="*/ 1542168 h 2098694"/>
                <a:gd name="connsiteX9" fmla="*/ 1244933 w 1330640"/>
                <a:gd name="connsiteY9" fmla="*/ 1498659 h 2098694"/>
                <a:gd name="connsiteX10" fmla="*/ 1056338 w 1330640"/>
                <a:gd name="connsiteY10" fmla="*/ 1498659 h 2098694"/>
                <a:gd name="connsiteX11" fmla="*/ 743093 w 1330640"/>
                <a:gd name="connsiteY11" fmla="*/ 639567 h 2098694"/>
                <a:gd name="connsiteX12" fmla="*/ 89516 w 1330640"/>
                <a:gd name="connsiteY12" fmla="*/ 0 h 2098694"/>
                <a:gd name="connsiteX13" fmla="*/ 0 w 1330640"/>
                <a:gd name="connsiteY13" fmla="*/ 145733 h 2098694"/>
                <a:gd name="connsiteX14" fmla="*/ 39 w 1330640"/>
                <a:gd name="connsiteY14" fmla="*/ 145733 h 2098694"/>
                <a:gd name="connsiteX15" fmla="*/ 593531 w 1330640"/>
                <a:gd name="connsiteY15" fmla="*/ 723156 h 2098694"/>
                <a:gd name="connsiteX16" fmla="*/ 883849 w 1330640"/>
                <a:gd name="connsiteY16" fmla="*/ 1498659 h 2098694"/>
                <a:gd name="connsiteX17" fmla="*/ 1093537 w 1330640"/>
                <a:gd name="connsiteY17" fmla="*/ 1670109 h 2098694"/>
                <a:gd name="connsiteX18" fmla="*/ 987758 w 1330640"/>
                <a:gd name="connsiteY18" fmla="*/ 1846340 h 2098694"/>
                <a:gd name="connsiteX19" fmla="*/ 881978 w 1330640"/>
                <a:gd name="connsiteY19" fmla="*/ 1670109 h 2098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0640" h="2098694">
                  <a:moveTo>
                    <a:pt x="883859" y="1498659"/>
                  </a:moveTo>
                  <a:lnTo>
                    <a:pt x="730583" y="1498659"/>
                  </a:lnTo>
                  <a:cubicBezTo>
                    <a:pt x="699702" y="1498659"/>
                    <a:pt x="671183" y="1515305"/>
                    <a:pt x="655997" y="1542168"/>
                  </a:cubicBezTo>
                  <a:cubicBezTo>
                    <a:pt x="640763" y="1569081"/>
                    <a:pt x="641223" y="1602068"/>
                    <a:pt x="657104" y="1628550"/>
                  </a:cubicBezTo>
                  <a:lnTo>
                    <a:pt x="914279" y="2057175"/>
                  </a:lnTo>
                  <a:cubicBezTo>
                    <a:pt x="929778" y="2082931"/>
                    <a:pt x="957680" y="2098695"/>
                    <a:pt x="987758" y="2098695"/>
                  </a:cubicBezTo>
                  <a:cubicBezTo>
                    <a:pt x="1017835" y="2098695"/>
                    <a:pt x="1045737" y="2082931"/>
                    <a:pt x="1061236" y="2057175"/>
                  </a:cubicBezTo>
                  <a:lnTo>
                    <a:pt x="1318411" y="1628550"/>
                  </a:lnTo>
                  <a:cubicBezTo>
                    <a:pt x="1334293" y="1602068"/>
                    <a:pt x="1334753" y="1569081"/>
                    <a:pt x="1319518" y="1542168"/>
                  </a:cubicBezTo>
                  <a:cubicBezTo>
                    <a:pt x="1304323" y="1515305"/>
                    <a:pt x="1275813" y="1498659"/>
                    <a:pt x="1244933" y="1498659"/>
                  </a:cubicBezTo>
                  <a:lnTo>
                    <a:pt x="1056338" y="1498659"/>
                  </a:lnTo>
                  <a:cubicBezTo>
                    <a:pt x="1017453" y="1192498"/>
                    <a:pt x="910409" y="898927"/>
                    <a:pt x="743093" y="639567"/>
                  </a:cubicBezTo>
                  <a:cubicBezTo>
                    <a:pt x="575778" y="380208"/>
                    <a:pt x="352433" y="161653"/>
                    <a:pt x="89516" y="0"/>
                  </a:cubicBezTo>
                  <a:lnTo>
                    <a:pt x="0" y="145733"/>
                  </a:lnTo>
                  <a:lnTo>
                    <a:pt x="39" y="145733"/>
                  </a:lnTo>
                  <a:cubicBezTo>
                    <a:pt x="238041" y="292082"/>
                    <a:pt x="440714" y="489240"/>
                    <a:pt x="593531" y="723156"/>
                  </a:cubicBezTo>
                  <a:cubicBezTo>
                    <a:pt x="746346" y="957063"/>
                    <a:pt x="845503" y="1221890"/>
                    <a:pt x="883849" y="1498659"/>
                  </a:cubicBezTo>
                  <a:close/>
                  <a:moveTo>
                    <a:pt x="1093537" y="1670109"/>
                  </a:moveTo>
                  <a:lnTo>
                    <a:pt x="987758" y="1846340"/>
                  </a:lnTo>
                  <a:lnTo>
                    <a:pt x="881978" y="1670109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D26B395E-F21F-4F0D-9FFA-D2190E9364D1}"/>
                </a:ext>
              </a:extLst>
            </p:cNvPr>
            <p:cNvSpPr/>
            <p:nvPr/>
          </p:nvSpPr>
          <p:spPr>
            <a:xfrm>
              <a:off x="-7187014" y="5886950"/>
              <a:ext cx="1585127" cy="674495"/>
            </a:xfrm>
            <a:custGeom>
              <a:avLst/>
              <a:gdLst>
                <a:gd name="connsiteX0" fmla="*/ 27529 w 1585127"/>
                <a:gd name="connsiteY0" fmla="*/ 312040 h 674495"/>
                <a:gd name="connsiteX1" fmla="*/ 394157 w 1585127"/>
                <a:gd name="connsiteY1" fmla="*/ 651688 h 674495"/>
                <a:gd name="connsiteX2" fmla="*/ 452441 w 1585127"/>
                <a:gd name="connsiteY2" fmla="*/ 674496 h 674495"/>
                <a:gd name="connsiteX3" fmla="*/ 478158 w 1585127"/>
                <a:gd name="connsiteY3" fmla="*/ 670479 h 674495"/>
                <a:gd name="connsiteX4" fmla="*/ 536020 w 1585127"/>
                <a:gd name="connsiteY4" fmla="*/ 606337 h 674495"/>
                <a:gd name="connsiteX5" fmla="*/ 574180 w 1585127"/>
                <a:gd name="connsiteY5" fmla="*/ 424669 h 674495"/>
                <a:gd name="connsiteX6" fmla="*/ 574180 w 1585127"/>
                <a:gd name="connsiteY6" fmla="*/ 424708 h 674495"/>
                <a:gd name="connsiteX7" fmla="*/ 779920 w 1585127"/>
                <a:gd name="connsiteY7" fmla="*/ 436611 h 674495"/>
                <a:gd name="connsiteX8" fmla="*/ 1585127 w 1585127"/>
                <a:gd name="connsiteY8" fmla="*/ 272774 h 674495"/>
                <a:gd name="connsiteX9" fmla="*/ 1517733 w 1585127"/>
                <a:gd name="connsiteY9" fmla="*/ 115137 h 674495"/>
                <a:gd name="connsiteX10" fmla="*/ 1517772 w 1585127"/>
                <a:gd name="connsiteY10" fmla="*/ 115137 h 674495"/>
                <a:gd name="connsiteX11" fmla="*/ 609773 w 1585127"/>
                <a:gd name="connsiteY11" fmla="*/ 256589 h 674495"/>
                <a:gd name="connsiteX12" fmla="*/ 641917 w 1585127"/>
                <a:gd name="connsiteY12" fmla="*/ 103312 h 674495"/>
                <a:gd name="connsiteX13" fmla="*/ 614671 w 1585127"/>
                <a:gd name="connsiteY13" fmla="*/ 21369 h 674495"/>
                <a:gd name="connsiteX14" fmla="*/ 529946 w 1585127"/>
                <a:gd name="connsiteY14" fmla="*/ 4724 h 674495"/>
                <a:gd name="connsiteX15" fmla="*/ 57694 w 1585127"/>
                <a:gd name="connsiteY15" fmla="*/ 168444 h 674495"/>
                <a:gd name="connsiteX16" fmla="*/ 1811 w 1585127"/>
                <a:gd name="connsiteY16" fmla="*/ 231861 h 674495"/>
                <a:gd name="connsiteX17" fmla="*/ 27529 w 1585127"/>
                <a:gd name="connsiteY17" fmla="*/ 312384 h 674495"/>
                <a:gd name="connsiteX18" fmla="*/ 443143 w 1585127"/>
                <a:gd name="connsiteY18" fmla="*/ 215940 h 674495"/>
                <a:gd name="connsiteX19" fmla="*/ 399673 w 1585127"/>
                <a:gd name="connsiteY19" fmla="*/ 422984 h 674495"/>
                <a:gd name="connsiteX20" fmla="*/ 248875 w 1585127"/>
                <a:gd name="connsiteY20" fmla="*/ 283335 h 67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85127" h="674495">
                  <a:moveTo>
                    <a:pt x="27529" y="312040"/>
                  </a:moveTo>
                  <a:lnTo>
                    <a:pt x="394157" y="651688"/>
                  </a:lnTo>
                  <a:cubicBezTo>
                    <a:pt x="409999" y="666384"/>
                    <a:pt x="430857" y="674496"/>
                    <a:pt x="452441" y="674496"/>
                  </a:cubicBezTo>
                  <a:cubicBezTo>
                    <a:pt x="461170" y="674496"/>
                    <a:pt x="469860" y="673124"/>
                    <a:pt x="478158" y="670479"/>
                  </a:cubicBezTo>
                  <a:cubicBezTo>
                    <a:pt x="507589" y="661064"/>
                    <a:pt x="529711" y="636571"/>
                    <a:pt x="536020" y="606337"/>
                  </a:cubicBezTo>
                  <a:lnTo>
                    <a:pt x="574180" y="424669"/>
                  </a:lnTo>
                  <a:lnTo>
                    <a:pt x="574180" y="424708"/>
                  </a:lnTo>
                  <a:cubicBezTo>
                    <a:pt x="642495" y="432213"/>
                    <a:pt x="711183" y="436190"/>
                    <a:pt x="779920" y="436611"/>
                  </a:cubicBezTo>
                  <a:cubicBezTo>
                    <a:pt x="1056689" y="437297"/>
                    <a:pt x="1330666" y="381581"/>
                    <a:pt x="1585127" y="272774"/>
                  </a:cubicBezTo>
                  <a:lnTo>
                    <a:pt x="1517733" y="115137"/>
                  </a:lnTo>
                  <a:lnTo>
                    <a:pt x="1517772" y="115137"/>
                  </a:lnTo>
                  <a:cubicBezTo>
                    <a:pt x="1231705" y="237602"/>
                    <a:pt x="919499" y="286206"/>
                    <a:pt x="609773" y="256589"/>
                  </a:cubicBezTo>
                  <a:lnTo>
                    <a:pt x="641917" y="103312"/>
                  </a:lnTo>
                  <a:cubicBezTo>
                    <a:pt x="648236" y="73078"/>
                    <a:pt x="637822" y="41806"/>
                    <a:pt x="614671" y="21369"/>
                  </a:cubicBezTo>
                  <a:cubicBezTo>
                    <a:pt x="591481" y="972"/>
                    <a:pt x="559141" y="-5377"/>
                    <a:pt x="529946" y="4724"/>
                  </a:cubicBezTo>
                  <a:lnTo>
                    <a:pt x="57694" y="168444"/>
                  </a:lnTo>
                  <a:cubicBezTo>
                    <a:pt x="29214" y="178319"/>
                    <a:pt x="8013" y="202391"/>
                    <a:pt x="1811" y="231861"/>
                  </a:cubicBezTo>
                  <a:cubicBezTo>
                    <a:pt x="-4342" y="261370"/>
                    <a:pt x="5416" y="291947"/>
                    <a:pt x="27529" y="312384"/>
                  </a:cubicBezTo>
                  <a:close/>
                  <a:moveTo>
                    <a:pt x="443143" y="215940"/>
                  </a:moveTo>
                  <a:lnTo>
                    <a:pt x="399673" y="422984"/>
                  </a:lnTo>
                  <a:lnTo>
                    <a:pt x="248875" y="283335"/>
                  </a:ln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46F76FDC-0BCB-4B46-953B-23D3076BD0D3}"/>
              </a:ext>
            </a:extLst>
          </p:cNvPr>
          <p:cNvSpPr txBox="1"/>
          <p:nvPr/>
        </p:nvSpPr>
        <p:spPr>
          <a:xfrm>
            <a:off x="8051192" y="1857368"/>
            <a:ext cx="3522703" cy="34045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50" b="1" dirty="0">
                <a:solidFill>
                  <a:srgbClr val="1CD0F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6568CF-FEFD-4D47-96B3-31B1E1AF19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0AFBA8-889D-4D23-8127-EEA6D6C6F9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42E24772-8956-4D4F-B8E7-37DA11D4DC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084177"/>
              </p:ext>
            </p:extLst>
          </p:nvPr>
        </p:nvGraphicFramePr>
        <p:xfrm>
          <a:off x="8084850" y="2588402"/>
          <a:ext cx="3538449" cy="2783716"/>
        </p:xfrm>
        <a:graphic>
          <a:graphicData uri="http://schemas.openxmlformats.org/drawingml/2006/table">
            <a:tbl>
              <a:tblPr firstRow="1" firstCol="1" bandRow="1"/>
              <a:tblGrid>
                <a:gridCol w="1179483">
                  <a:extLst>
                    <a:ext uri="{9D8B030D-6E8A-4147-A177-3AD203B41FA5}">
                      <a16:colId xmlns:a16="http://schemas.microsoft.com/office/drawing/2014/main" val="621005175"/>
                    </a:ext>
                  </a:extLst>
                </a:gridCol>
                <a:gridCol w="1179483">
                  <a:extLst>
                    <a:ext uri="{9D8B030D-6E8A-4147-A177-3AD203B41FA5}">
                      <a16:colId xmlns:a16="http://schemas.microsoft.com/office/drawing/2014/main" val="2713047191"/>
                    </a:ext>
                  </a:extLst>
                </a:gridCol>
                <a:gridCol w="1179483">
                  <a:extLst>
                    <a:ext uri="{9D8B030D-6E8A-4147-A177-3AD203B41FA5}">
                      <a16:colId xmlns:a16="http://schemas.microsoft.com/office/drawing/2014/main" val="3359628896"/>
                    </a:ext>
                  </a:extLst>
                </a:gridCol>
              </a:tblGrid>
              <a:tr h="68439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309430"/>
                  </a:ext>
                </a:extLst>
              </a:tr>
              <a:tr h="68439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ravin Patil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tratis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0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avnoudias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ill </a:t>
                      </a:r>
                      <a:r>
                        <a:rPr lang="en-US" sz="10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nyea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6668837"/>
                  </a:ext>
                </a:extLst>
              </a:tr>
              <a:tr h="730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8500933"/>
                  </a:ext>
                </a:extLst>
              </a:tr>
              <a:tr h="68439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Esteban Lopez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iset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Lopez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illiam </a:t>
                      </a:r>
                      <a:r>
                        <a:rPr lang="en-US" sz="10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olfenbarger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164438"/>
                  </a:ext>
                </a:extLst>
              </a:tr>
            </a:tbl>
          </a:graphicData>
        </a:graphic>
      </p:graphicFrame>
      <p:pic>
        <p:nvPicPr>
          <p:cNvPr id="75" name="Picture 74">
            <a:extLst>
              <a:ext uri="{FF2B5EF4-FFF2-40B4-BE49-F238E27FC236}">
                <a16:creationId xmlns:a16="http://schemas.microsoft.com/office/drawing/2014/main" id="{F2BBC35B-4238-4CF2-B470-82A6B38EBB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33807" y="3728133"/>
            <a:ext cx="822960" cy="82296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81B2CB98-20F7-4719-A4FF-0FBC925988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42595" y="3728133"/>
            <a:ext cx="822960" cy="82296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85CBC865-C721-4675-ACBB-BA9DD39EB8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42595" y="2298435"/>
            <a:ext cx="822960" cy="82296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0230EC15-B0C3-4E37-8A9E-750D60D98D7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33807" y="2298435"/>
            <a:ext cx="822960" cy="82296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6D53D8F4-2433-4619-B721-95173F3F362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70"/>
          <a:stretch/>
        </p:blipFill>
        <p:spPr>
          <a:xfrm>
            <a:off x="8311374" y="2298435"/>
            <a:ext cx="822960" cy="82296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35CF2333-95A6-4F24-B9B8-61FE42EC358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8644" y="3725707"/>
            <a:ext cx="820051" cy="82296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C20169AC-62CB-4248-8E49-7FE02D61C7FB}"/>
              </a:ext>
            </a:extLst>
          </p:cNvPr>
          <p:cNvSpPr/>
          <p:nvPr/>
        </p:nvSpPr>
        <p:spPr>
          <a:xfrm>
            <a:off x="5093562" y="5917452"/>
            <a:ext cx="2065404" cy="940548"/>
          </a:xfrm>
          <a:prstGeom prst="rect">
            <a:avLst/>
          </a:prstGeom>
          <a:solidFill>
            <a:srgbClr val="FFFFFF">
              <a:alpha val="8000"/>
            </a:srgbClr>
          </a:solidFill>
          <a:ln w="9525"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81EE7FB-92B6-464F-B1E3-DAFD649453FC}"/>
              </a:ext>
            </a:extLst>
          </p:cNvPr>
          <p:cNvSpPr txBox="1"/>
          <p:nvPr/>
        </p:nvSpPr>
        <p:spPr>
          <a:xfrm>
            <a:off x="5093561" y="5584598"/>
            <a:ext cx="2065404" cy="34045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27418" rIns="0" bIns="0" rtlCol="0" anchor="ctr" anchorCtr="0">
            <a:no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en-US" sz="1050" b="1" dirty="0">
                <a:solidFill>
                  <a:srgbClr val="1CD0F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tHub: </a:t>
            </a:r>
            <a:r>
              <a: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prpercy/BlockWag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F3E133-5632-4083-997E-F4E88BE6EC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318" y="5983444"/>
            <a:ext cx="673048" cy="836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597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D39502-BD75-4857-888B-B119F627A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B7459-A9BE-4170-99AC-3DBF94476C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dirty="0" smtClean="0"/>
              <a:pPr/>
              <a:t>5</a:t>
            </a:fld>
            <a:endParaRPr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D2BD91D5-89B5-44ED-94D1-7D6E44003D59}"/>
              </a:ext>
            </a:extLst>
          </p:cNvPr>
          <p:cNvSpPr/>
          <p:nvPr/>
        </p:nvSpPr>
        <p:spPr>
          <a:xfrm>
            <a:off x="0" y="3081337"/>
            <a:ext cx="6638925" cy="695325"/>
          </a:xfrm>
          <a:prstGeom prst="homePlate">
            <a:avLst/>
          </a:prstGeom>
          <a:solidFill>
            <a:srgbClr val="1CD0F4"/>
          </a:solidFill>
          <a:ln w="9525">
            <a:solidFill>
              <a:srgbClr val="1CD0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e Demo</a:t>
            </a:r>
          </a:p>
        </p:txBody>
      </p:sp>
    </p:spTree>
    <p:extLst>
      <p:ext uri="{BB962C8B-B14F-4D97-AF65-F5344CB8AC3E}">
        <p14:creationId xmlns:p14="http://schemas.microsoft.com/office/powerpoint/2010/main" val="4167073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91272-300C-46CF-8AC5-8223D9C58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1CD0F4"/>
                </a:solidFill>
                <a:latin typeface="Arial" panose="020B0604020202020204" pitchFamily="34" charset="0"/>
              </a:rPr>
              <a:t>Live Demo </a:t>
            </a:r>
            <a:r>
              <a:rPr lang="en-US" dirty="0">
                <a:latin typeface="Arial" panose="020B0604020202020204" pitchFamily="34" charset="0"/>
              </a:rPr>
              <a:t>– full list of technologies and packages used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6E059FF1-D2E6-44F7-853E-6B2BAF498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2468497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User Interface 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| </a:t>
            </a:r>
            <a:r>
              <a:rPr kumimoji="0" lang="en-US" alt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Streamlit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, </a:t>
            </a:r>
            <a:r>
              <a:rPr kumimoji="0" lang="en-US" alt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streamlit_elements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, </a:t>
            </a:r>
            <a:r>
              <a:rPr kumimoji="0" lang="en-US" alt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colorama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, emojis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1F2A6235-62A9-4BB4-83AA-F25021046DC7}"/>
              </a:ext>
            </a:extLst>
          </p:cNvPr>
          <p:cNvSpPr/>
          <p:nvPr/>
        </p:nvSpPr>
        <p:spPr>
          <a:xfrm>
            <a:off x="1458791" y="1836682"/>
            <a:ext cx="1667377" cy="1650242"/>
          </a:xfrm>
          <a:custGeom>
            <a:avLst/>
            <a:gdLst>
              <a:gd name="connsiteX0" fmla="*/ 0 w 254000"/>
              <a:gd name="connsiteY0" fmla="*/ 0 h 254000"/>
              <a:gd name="connsiteX1" fmla="*/ 254000 w 254000"/>
              <a:gd name="connsiteY1" fmla="*/ 0 h 254000"/>
              <a:gd name="connsiteX2" fmla="*/ 254000 w 254000"/>
              <a:gd name="connsiteY2" fmla="*/ 254000 h 254000"/>
              <a:gd name="connsiteX3" fmla="*/ 0 w 254000"/>
              <a:gd name="connsiteY3" fmla="*/ 254000 h 254000"/>
              <a:gd name="connsiteX4" fmla="*/ 0 w 254000"/>
              <a:gd name="connsiteY4" fmla="*/ 0 h 254000"/>
              <a:gd name="connsiteX0" fmla="*/ 0 w 1110702"/>
              <a:gd name="connsiteY0" fmla="*/ 0 h 3006631"/>
              <a:gd name="connsiteX1" fmla="*/ 1110702 w 1110702"/>
              <a:gd name="connsiteY1" fmla="*/ 3006631 h 3006631"/>
              <a:gd name="connsiteX2" fmla="*/ 254000 w 1110702"/>
              <a:gd name="connsiteY2" fmla="*/ 254000 h 3006631"/>
              <a:gd name="connsiteX3" fmla="*/ 0 w 1110702"/>
              <a:gd name="connsiteY3" fmla="*/ 254000 h 3006631"/>
              <a:gd name="connsiteX4" fmla="*/ 0 w 1110702"/>
              <a:gd name="connsiteY4" fmla="*/ 0 h 3006631"/>
              <a:gd name="connsiteX0" fmla="*/ 1110702 w 1110702"/>
              <a:gd name="connsiteY0" fmla="*/ 3297205 h 3297205"/>
              <a:gd name="connsiteX1" fmla="*/ 1110702 w 1110702"/>
              <a:gd name="connsiteY1" fmla="*/ 3006631 h 3297205"/>
              <a:gd name="connsiteX2" fmla="*/ 254000 w 1110702"/>
              <a:gd name="connsiteY2" fmla="*/ 254000 h 3297205"/>
              <a:gd name="connsiteX3" fmla="*/ 0 w 1110702"/>
              <a:gd name="connsiteY3" fmla="*/ 254000 h 3297205"/>
              <a:gd name="connsiteX4" fmla="*/ 0 w 1110702"/>
              <a:gd name="connsiteY4" fmla="*/ 0 h 3297205"/>
              <a:gd name="connsiteX0" fmla="*/ 1110702 w 2754864"/>
              <a:gd name="connsiteY0" fmla="*/ 3297205 h 3297205"/>
              <a:gd name="connsiteX1" fmla="*/ 1110702 w 2754864"/>
              <a:gd name="connsiteY1" fmla="*/ 3006631 h 3297205"/>
              <a:gd name="connsiteX2" fmla="*/ 2754864 w 2754864"/>
              <a:gd name="connsiteY2" fmla="*/ 1291418 h 3297205"/>
              <a:gd name="connsiteX3" fmla="*/ 0 w 2754864"/>
              <a:gd name="connsiteY3" fmla="*/ 254000 h 3297205"/>
              <a:gd name="connsiteX4" fmla="*/ 0 w 2754864"/>
              <a:gd name="connsiteY4" fmla="*/ 0 h 3297205"/>
              <a:gd name="connsiteX0" fmla="*/ 1110702 w 2754864"/>
              <a:gd name="connsiteY0" fmla="*/ 3297205 h 3297205"/>
              <a:gd name="connsiteX1" fmla="*/ 1110702 w 2754864"/>
              <a:gd name="connsiteY1" fmla="*/ 3006631 h 3297205"/>
              <a:gd name="connsiteX2" fmla="*/ 2754864 w 2754864"/>
              <a:gd name="connsiteY2" fmla="*/ 1291418 h 3297205"/>
              <a:gd name="connsiteX3" fmla="*/ 2754864 w 2754864"/>
              <a:gd name="connsiteY3" fmla="*/ 2365291 h 3297205"/>
              <a:gd name="connsiteX4" fmla="*/ 0 w 2754864"/>
              <a:gd name="connsiteY4" fmla="*/ 0 h 3297205"/>
              <a:gd name="connsiteX0" fmla="*/ 0 w 1644162"/>
              <a:gd name="connsiteY0" fmla="*/ 2005787 h 2005787"/>
              <a:gd name="connsiteX1" fmla="*/ 0 w 1644162"/>
              <a:gd name="connsiteY1" fmla="*/ 1715213 h 2005787"/>
              <a:gd name="connsiteX2" fmla="*/ 1644162 w 1644162"/>
              <a:gd name="connsiteY2" fmla="*/ 0 h 2005787"/>
              <a:gd name="connsiteX3" fmla="*/ 1644162 w 1644162"/>
              <a:gd name="connsiteY3" fmla="*/ 1073873 h 2005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4162" h="2005787">
                <a:moveTo>
                  <a:pt x="0" y="2005787"/>
                </a:moveTo>
                <a:lnTo>
                  <a:pt x="0" y="1715213"/>
                </a:lnTo>
                <a:lnTo>
                  <a:pt x="1644162" y="0"/>
                </a:lnTo>
                <a:lnTo>
                  <a:pt x="1644162" y="1073873"/>
                </a:lnTo>
                <a:close/>
              </a:path>
            </a:pathLst>
          </a:custGeom>
          <a:gradFill flip="none" rotWithShape="1">
            <a:gsLst>
              <a:gs pos="0">
                <a:srgbClr val="6DDEDC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928AEDA7-B4EA-4F87-8C0A-831E0F69BAA0}"/>
              </a:ext>
            </a:extLst>
          </p:cNvPr>
          <p:cNvSpPr/>
          <p:nvPr/>
        </p:nvSpPr>
        <p:spPr>
          <a:xfrm>
            <a:off x="1458791" y="2838285"/>
            <a:ext cx="1667377" cy="868832"/>
          </a:xfrm>
          <a:custGeom>
            <a:avLst/>
            <a:gdLst>
              <a:gd name="connsiteX0" fmla="*/ 0 w 254000"/>
              <a:gd name="connsiteY0" fmla="*/ 0 h 254000"/>
              <a:gd name="connsiteX1" fmla="*/ 254000 w 254000"/>
              <a:gd name="connsiteY1" fmla="*/ 0 h 254000"/>
              <a:gd name="connsiteX2" fmla="*/ 254000 w 254000"/>
              <a:gd name="connsiteY2" fmla="*/ 254000 h 254000"/>
              <a:gd name="connsiteX3" fmla="*/ 0 w 254000"/>
              <a:gd name="connsiteY3" fmla="*/ 254000 h 254000"/>
              <a:gd name="connsiteX4" fmla="*/ 0 w 254000"/>
              <a:gd name="connsiteY4" fmla="*/ 0 h 254000"/>
              <a:gd name="connsiteX0" fmla="*/ 0 w 1110702"/>
              <a:gd name="connsiteY0" fmla="*/ 0 h 3333958"/>
              <a:gd name="connsiteX1" fmla="*/ 1110702 w 1110702"/>
              <a:gd name="connsiteY1" fmla="*/ 3333958 h 3333958"/>
              <a:gd name="connsiteX2" fmla="*/ 254000 w 1110702"/>
              <a:gd name="connsiteY2" fmla="*/ 254000 h 3333958"/>
              <a:gd name="connsiteX3" fmla="*/ 0 w 1110702"/>
              <a:gd name="connsiteY3" fmla="*/ 254000 h 3333958"/>
              <a:gd name="connsiteX4" fmla="*/ 0 w 1110702"/>
              <a:gd name="connsiteY4" fmla="*/ 0 h 3333958"/>
              <a:gd name="connsiteX0" fmla="*/ 1110702 w 1110702"/>
              <a:gd name="connsiteY0" fmla="*/ 3624532 h 3624532"/>
              <a:gd name="connsiteX1" fmla="*/ 1110702 w 1110702"/>
              <a:gd name="connsiteY1" fmla="*/ 3333958 h 3624532"/>
              <a:gd name="connsiteX2" fmla="*/ 254000 w 1110702"/>
              <a:gd name="connsiteY2" fmla="*/ 254000 h 3624532"/>
              <a:gd name="connsiteX3" fmla="*/ 0 w 1110702"/>
              <a:gd name="connsiteY3" fmla="*/ 254000 h 3624532"/>
              <a:gd name="connsiteX4" fmla="*/ 0 w 1110702"/>
              <a:gd name="connsiteY4" fmla="*/ 0 h 3624532"/>
              <a:gd name="connsiteX0" fmla="*/ 1110702 w 2754864"/>
              <a:gd name="connsiteY0" fmla="*/ 3624532 h 3624532"/>
              <a:gd name="connsiteX1" fmla="*/ 1110702 w 2754864"/>
              <a:gd name="connsiteY1" fmla="*/ 3333958 h 3624532"/>
              <a:gd name="connsiteX2" fmla="*/ 2754864 w 2754864"/>
              <a:gd name="connsiteY2" fmla="*/ 2501121 h 3624532"/>
              <a:gd name="connsiteX3" fmla="*/ 0 w 2754864"/>
              <a:gd name="connsiteY3" fmla="*/ 254000 h 3624532"/>
              <a:gd name="connsiteX4" fmla="*/ 0 w 2754864"/>
              <a:gd name="connsiteY4" fmla="*/ 0 h 3624532"/>
              <a:gd name="connsiteX0" fmla="*/ 1110702 w 2754864"/>
              <a:gd name="connsiteY0" fmla="*/ 3624532 h 3624532"/>
              <a:gd name="connsiteX1" fmla="*/ 1110702 w 2754864"/>
              <a:gd name="connsiteY1" fmla="*/ 3333958 h 3624532"/>
              <a:gd name="connsiteX2" fmla="*/ 2754864 w 2754864"/>
              <a:gd name="connsiteY2" fmla="*/ 2501121 h 3624532"/>
              <a:gd name="connsiteX3" fmla="*/ 2754864 w 2754864"/>
              <a:gd name="connsiteY3" fmla="*/ 3574994 h 3624532"/>
              <a:gd name="connsiteX4" fmla="*/ 0 w 2754864"/>
              <a:gd name="connsiteY4" fmla="*/ 0 h 3624532"/>
              <a:gd name="connsiteX0" fmla="*/ 0 w 1644162"/>
              <a:gd name="connsiteY0" fmla="*/ 1123411 h 1123411"/>
              <a:gd name="connsiteX1" fmla="*/ 0 w 1644162"/>
              <a:gd name="connsiteY1" fmla="*/ 832837 h 1123411"/>
              <a:gd name="connsiteX2" fmla="*/ 1644162 w 1644162"/>
              <a:gd name="connsiteY2" fmla="*/ 0 h 1123411"/>
              <a:gd name="connsiteX3" fmla="*/ 1644162 w 1644162"/>
              <a:gd name="connsiteY3" fmla="*/ 1073873 h 1123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4162" h="1123411">
                <a:moveTo>
                  <a:pt x="0" y="1123411"/>
                </a:moveTo>
                <a:lnTo>
                  <a:pt x="0" y="832837"/>
                </a:lnTo>
                <a:lnTo>
                  <a:pt x="1644162" y="0"/>
                </a:lnTo>
                <a:lnTo>
                  <a:pt x="1644162" y="1073873"/>
                </a:lnTo>
                <a:close/>
              </a:path>
            </a:pathLst>
          </a:custGeom>
          <a:gradFill flip="none" rotWithShape="1">
            <a:gsLst>
              <a:gs pos="0">
                <a:srgbClr val="6DDEDC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F28D5DC4-C773-4A6D-9D0D-7EA423B71794}"/>
              </a:ext>
            </a:extLst>
          </p:cNvPr>
          <p:cNvSpPr/>
          <p:nvPr/>
        </p:nvSpPr>
        <p:spPr>
          <a:xfrm>
            <a:off x="1458791" y="3744607"/>
            <a:ext cx="1667377" cy="868832"/>
          </a:xfrm>
          <a:custGeom>
            <a:avLst/>
            <a:gdLst>
              <a:gd name="connsiteX0" fmla="*/ 0 w 254000"/>
              <a:gd name="connsiteY0" fmla="*/ 0 h 254000"/>
              <a:gd name="connsiteX1" fmla="*/ 254000 w 254000"/>
              <a:gd name="connsiteY1" fmla="*/ 0 h 254000"/>
              <a:gd name="connsiteX2" fmla="*/ 254000 w 254000"/>
              <a:gd name="connsiteY2" fmla="*/ 254000 h 254000"/>
              <a:gd name="connsiteX3" fmla="*/ 0 w 254000"/>
              <a:gd name="connsiteY3" fmla="*/ 254000 h 254000"/>
              <a:gd name="connsiteX4" fmla="*/ 0 w 254000"/>
              <a:gd name="connsiteY4" fmla="*/ 0 h 254000"/>
              <a:gd name="connsiteX0" fmla="*/ 0 w 1110702"/>
              <a:gd name="connsiteY0" fmla="*/ 0 h 3661286"/>
              <a:gd name="connsiteX1" fmla="*/ 1110702 w 1110702"/>
              <a:gd name="connsiteY1" fmla="*/ 3661286 h 3661286"/>
              <a:gd name="connsiteX2" fmla="*/ 254000 w 1110702"/>
              <a:gd name="connsiteY2" fmla="*/ 254000 h 3661286"/>
              <a:gd name="connsiteX3" fmla="*/ 0 w 1110702"/>
              <a:gd name="connsiteY3" fmla="*/ 254000 h 3661286"/>
              <a:gd name="connsiteX4" fmla="*/ 0 w 1110702"/>
              <a:gd name="connsiteY4" fmla="*/ 0 h 3661286"/>
              <a:gd name="connsiteX0" fmla="*/ 1110702 w 1110702"/>
              <a:gd name="connsiteY0" fmla="*/ 3951860 h 3951860"/>
              <a:gd name="connsiteX1" fmla="*/ 1110702 w 1110702"/>
              <a:gd name="connsiteY1" fmla="*/ 3661286 h 3951860"/>
              <a:gd name="connsiteX2" fmla="*/ 254000 w 1110702"/>
              <a:gd name="connsiteY2" fmla="*/ 254000 h 3951860"/>
              <a:gd name="connsiteX3" fmla="*/ 0 w 1110702"/>
              <a:gd name="connsiteY3" fmla="*/ 254000 h 3951860"/>
              <a:gd name="connsiteX4" fmla="*/ 0 w 1110702"/>
              <a:gd name="connsiteY4" fmla="*/ 0 h 3951860"/>
              <a:gd name="connsiteX0" fmla="*/ 1110702 w 2754864"/>
              <a:gd name="connsiteY0" fmla="*/ 3951860 h 3951860"/>
              <a:gd name="connsiteX1" fmla="*/ 1110702 w 2754864"/>
              <a:gd name="connsiteY1" fmla="*/ 3661286 h 3951860"/>
              <a:gd name="connsiteX2" fmla="*/ 2754864 w 2754864"/>
              <a:gd name="connsiteY2" fmla="*/ 3710824 h 3951860"/>
              <a:gd name="connsiteX3" fmla="*/ 0 w 2754864"/>
              <a:gd name="connsiteY3" fmla="*/ 254000 h 3951860"/>
              <a:gd name="connsiteX4" fmla="*/ 0 w 2754864"/>
              <a:gd name="connsiteY4" fmla="*/ 0 h 3951860"/>
              <a:gd name="connsiteX0" fmla="*/ 1110702 w 2754864"/>
              <a:gd name="connsiteY0" fmla="*/ 3951860 h 4784697"/>
              <a:gd name="connsiteX1" fmla="*/ 1110702 w 2754864"/>
              <a:gd name="connsiteY1" fmla="*/ 3661286 h 4784697"/>
              <a:gd name="connsiteX2" fmla="*/ 2754864 w 2754864"/>
              <a:gd name="connsiteY2" fmla="*/ 3710824 h 4784697"/>
              <a:gd name="connsiteX3" fmla="*/ 2754864 w 2754864"/>
              <a:gd name="connsiteY3" fmla="*/ 4784697 h 4784697"/>
              <a:gd name="connsiteX4" fmla="*/ 0 w 2754864"/>
              <a:gd name="connsiteY4" fmla="*/ 0 h 4784697"/>
              <a:gd name="connsiteX0" fmla="*/ 0 w 1644162"/>
              <a:gd name="connsiteY0" fmla="*/ 290574 h 1123411"/>
              <a:gd name="connsiteX1" fmla="*/ 0 w 1644162"/>
              <a:gd name="connsiteY1" fmla="*/ 0 h 1123411"/>
              <a:gd name="connsiteX2" fmla="*/ 1644162 w 1644162"/>
              <a:gd name="connsiteY2" fmla="*/ 49538 h 1123411"/>
              <a:gd name="connsiteX3" fmla="*/ 1644162 w 1644162"/>
              <a:gd name="connsiteY3" fmla="*/ 1123411 h 1123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4162" h="1123411">
                <a:moveTo>
                  <a:pt x="0" y="290574"/>
                </a:moveTo>
                <a:lnTo>
                  <a:pt x="0" y="0"/>
                </a:lnTo>
                <a:lnTo>
                  <a:pt x="1644162" y="49538"/>
                </a:lnTo>
                <a:lnTo>
                  <a:pt x="1644162" y="1123411"/>
                </a:lnTo>
                <a:close/>
              </a:path>
            </a:pathLst>
          </a:custGeom>
          <a:gradFill flip="none" rotWithShape="1">
            <a:gsLst>
              <a:gs pos="0">
                <a:srgbClr val="6DDEDC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3153ED36-53AD-4C93-8503-111885A6E7ED}"/>
              </a:ext>
            </a:extLst>
          </p:cNvPr>
          <p:cNvSpPr/>
          <p:nvPr/>
        </p:nvSpPr>
        <p:spPr>
          <a:xfrm>
            <a:off x="1458791" y="3955223"/>
            <a:ext cx="1667377" cy="1605930"/>
          </a:xfrm>
          <a:custGeom>
            <a:avLst/>
            <a:gdLst>
              <a:gd name="connsiteX0" fmla="*/ 0 w 254000"/>
              <a:gd name="connsiteY0" fmla="*/ 0 h 254000"/>
              <a:gd name="connsiteX1" fmla="*/ 254000 w 254000"/>
              <a:gd name="connsiteY1" fmla="*/ 0 h 254000"/>
              <a:gd name="connsiteX2" fmla="*/ 254000 w 254000"/>
              <a:gd name="connsiteY2" fmla="*/ 254000 h 254000"/>
              <a:gd name="connsiteX3" fmla="*/ 0 w 254000"/>
              <a:gd name="connsiteY3" fmla="*/ 254000 h 254000"/>
              <a:gd name="connsiteX4" fmla="*/ 0 w 254000"/>
              <a:gd name="connsiteY4" fmla="*/ 0 h 254000"/>
              <a:gd name="connsiteX0" fmla="*/ 0 w 1110702"/>
              <a:gd name="connsiteY0" fmla="*/ 0 h 3988613"/>
              <a:gd name="connsiteX1" fmla="*/ 1110702 w 1110702"/>
              <a:gd name="connsiteY1" fmla="*/ 3988613 h 3988613"/>
              <a:gd name="connsiteX2" fmla="*/ 254000 w 1110702"/>
              <a:gd name="connsiteY2" fmla="*/ 254000 h 3988613"/>
              <a:gd name="connsiteX3" fmla="*/ 0 w 1110702"/>
              <a:gd name="connsiteY3" fmla="*/ 254000 h 3988613"/>
              <a:gd name="connsiteX4" fmla="*/ 0 w 1110702"/>
              <a:gd name="connsiteY4" fmla="*/ 0 h 3988613"/>
              <a:gd name="connsiteX0" fmla="*/ 1110702 w 1110702"/>
              <a:gd name="connsiteY0" fmla="*/ 4279187 h 4279187"/>
              <a:gd name="connsiteX1" fmla="*/ 1110702 w 1110702"/>
              <a:gd name="connsiteY1" fmla="*/ 3988613 h 4279187"/>
              <a:gd name="connsiteX2" fmla="*/ 254000 w 1110702"/>
              <a:gd name="connsiteY2" fmla="*/ 254000 h 4279187"/>
              <a:gd name="connsiteX3" fmla="*/ 0 w 1110702"/>
              <a:gd name="connsiteY3" fmla="*/ 254000 h 4279187"/>
              <a:gd name="connsiteX4" fmla="*/ 0 w 1110702"/>
              <a:gd name="connsiteY4" fmla="*/ 0 h 4279187"/>
              <a:gd name="connsiteX0" fmla="*/ 1110702 w 2754864"/>
              <a:gd name="connsiteY0" fmla="*/ 4279187 h 4920527"/>
              <a:gd name="connsiteX1" fmla="*/ 1110702 w 2754864"/>
              <a:gd name="connsiteY1" fmla="*/ 3988613 h 4920527"/>
              <a:gd name="connsiteX2" fmla="*/ 2754864 w 2754864"/>
              <a:gd name="connsiteY2" fmla="*/ 4920527 h 4920527"/>
              <a:gd name="connsiteX3" fmla="*/ 0 w 2754864"/>
              <a:gd name="connsiteY3" fmla="*/ 254000 h 4920527"/>
              <a:gd name="connsiteX4" fmla="*/ 0 w 2754864"/>
              <a:gd name="connsiteY4" fmla="*/ 0 h 4920527"/>
              <a:gd name="connsiteX0" fmla="*/ 1110702 w 2754864"/>
              <a:gd name="connsiteY0" fmla="*/ 4279187 h 5994400"/>
              <a:gd name="connsiteX1" fmla="*/ 1110702 w 2754864"/>
              <a:gd name="connsiteY1" fmla="*/ 3988613 h 5994400"/>
              <a:gd name="connsiteX2" fmla="*/ 2754864 w 2754864"/>
              <a:gd name="connsiteY2" fmla="*/ 4920527 h 5994400"/>
              <a:gd name="connsiteX3" fmla="*/ 2754864 w 2754864"/>
              <a:gd name="connsiteY3" fmla="*/ 5994400 h 5994400"/>
              <a:gd name="connsiteX4" fmla="*/ 0 w 2754864"/>
              <a:gd name="connsiteY4" fmla="*/ 0 h 5994400"/>
              <a:gd name="connsiteX0" fmla="*/ 0 w 1644162"/>
              <a:gd name="connsiteY0" fmla="*/ 290574 h 2005787"/>
              <a:gd name="connsiteX1" fmla="*/ 0 w 1644162"/>
              <a:gd name="connsiteY1" fmla="*/ 0 h 2005787"/>
              <a:gd name="connsiteX2" fmla="*/ 1644162 w 1644162"/>
              <a:gd name="connsiteY2" fmla="*/ 931914 h 2005787"/>
              <a:gd name="connsiteX3" fmla="*/ 1644162 w 1644162"/>
              <a:gd name="connsiteY3" fmla="*/ 2005787 h 2005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4162" h="2005787">
                <a:moveTo>
                  <a:pt x="0" y="290574"/>
                </a:moveTo>
                <a:lnTo>
                  <a:pt x="0" y="0"/>
                </a:lnTo>
                <a:lnTo>
                  <a:pt x="1644162" y="931914"/>
                </a:lnTo>
                <a:lnTo>
                  <a:pt x="1644162" y="2005787"/>
                </a:lnTo>
                <a:close/>
              </a:path>
            </a:pathLst>
          </a:custGeom>
          <a:gradFill flip="none" rotWithShape="1">
            <a:gsLst>
              <a:gs pos="0">
                <a:srgbClr val="6DDEDC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473A18A-09CC-431C-8F5B-FE7349FB31D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1154" y="2892173"/>
            <a:ext cx="1667377" cy="1667377"/>
          </a:xfrm>
          <a:prstGeom prst="ellipse">
            <a:avLst/>
          </a:prstGeom>
          <a:solidFill>
            <a:srgbClr val="1CD0F4"/>
          </a:solidFill>
          <a:ln w="76200" cap="flat" cmpd="sng" algn="ctr">
            <a:solidFill>
              <a:srgbClr val="2E2E3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6" name="Rectangle 14">
            <a:extLst>
              <a:ext uri="{FF2B5EF4-FFF2-40B4-BE49-F238E27FC236}">
                <a16:creationId xmlns:a16="http://schemas.microsoft.com/office/drawing/2014/main" id="{D13BAB60-0EFA-4B0D-9E4B-27F22AC7EEC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38808" y="3119829"/>
            <a:ext cx="1212067" cy="1212065"/>
          </a:xfrm>
          <a:prstGeom prst="ellipse">
            <a:avLst/>
          </a:prstGeom>
          <a:solidFill>
            <a:srgbClr val="2E2E38"/>
          </a:solidFill>
          <a:ln w="76200" cap="flat" cmpd="sng" algn="ctr">
            <a:solidFill>
              <a:srgbClr val="2E2E3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8" name="Rectangle 15">
            <a:extLst>
              <a:ext uri="{FF2B5EF4-FFF2-40B4-BE49-F238E27FC236}">
                <a16:creationId xmlns:a16="http://schemas.microsoft.com/office/drawing/2014/main" id="{35E62B22-CA60-44E5-8D4A-0F84F250C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2047135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Languages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 | Python, CSS, Solidity, SQL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0C8E59B1-6C9C-4784-8389-729563E50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2889859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Odds-Scraping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 | </a:t>
            </a:r>
            <a:r>
              <a:rPr kumimoji="0" lang="en-US" alt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sbrscrape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, requests, </a:t>
            </a:r>
            <a:r>
              <a:rPr kumimoji="0" lang="en-US" alt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SQLalchemy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1" name="Rectangle 15">
            <a:extLst>
              <a:ext uri="{FF2B5EF4-FFF2-40B4-BE49-F238E27FC236}">
                <a16:creationId xmlns:a16="http://schemas.microsoft.com/office/drawing/2014/main" id="{CD8C3E68-FED3-4E3A-8942-B194A3BE77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3732584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Blockchain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 | Ganache, tokenization, </a:t>
            </a:r>
            <a:r>
              <a:rPr kumimoji="0" lang="en-US" alt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MetaMask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C92791B2-8DEF-4888-9FC4-A8B4E26990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3311222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lang="en-US" altLang="de-DE" sz="1400" dirty="0">
                <a:solidFill>
                  <a:srgbClr val="1CD0F4"/>
                </a:solidFill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Smart Contracts 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| Remix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591DF-07C3-4588-BC8A-FDEE93363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lockWag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29B646-4CAF-40A4-A028-893A641C2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2E4E6DE-B996-4D2E-BA52-E9466DD91D64}"/>
              </a:ext>
            </a:extLst>
          </p:cNvPr>
          <p:cNvGrpSpPr>
            <a:grpSpLocks noChangeAspect="1"/>
          </p:cNvGrpSpPr>
          <p:nvPr/>
        </p:nvGrpSpPr>
        <p:grpSpPr>
          <a:xfrm>
            <a:off x="603025" y="3375778"/>
            <a:ext cx="702177" cy="700165"/>
            <a:chOff x="7418388" y="3444875"/>
            <a:chExt cx="554038" cy="552451"/>
          </a:xfrm>
        </p:grpSpPr>
        <p:sp>
          <p:nvSpPr>
            <p:cNvPr id="37" name="Line 194">
              <a:extLst>
                <a:ext uri="{FF2B5EF4-FFF2-40B4-BE49-F238E27FC236}">
                  <a16:creationId xmlns:a16="http://schemas.microsoft.com/office/drawing/2014/main" id="{7D53E48B-6FA2-4391-99F5-C31B8C6598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96200" y="3589338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39" name="Line 180">
              <a:extLst>
                <a:ext uri="{FF2B5EF4-FFF2-40B4-BE49-F238E27FC236}">
                  <a16:creationId xmlns:a16="http://schemas.microsoft.com/office/drawing/2014/main" id="{65AAEB5B-6BDA-43E8-B634-9480D01982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99363" y="3516313"/>
              <a:ext cx="96838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0" name="Freeform 181">
              <a:extLst>
                <a:ext uri="{FF2B5EF4-FFF2-40B4-BE49-F238E27FC236}">
                  <a16:creationId xmlns:a16="http://schemas.microsoft.com/office/drawing/2014/main" id="{A84EAD7B-11F7-4FCE-8D21-E4B42E9DE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757613"/>
              <a:ext cx="192088" cy="239713"/>
            </a:xfrm>
            <a:custGeom>
              <a:avLst/>
              <a:gdLst>
                <a:gd name="T0" fmla="*/ 0 w 121"/>
                <a:gd name="T1" fmla="*/ 45 h 151"/>
                <a:gd name="T2" fmla="*/ 61 w 121"/>
                <a:gd name="T3" fmla="*/ 0 h 151"/>
                <a:gd name="T4" fmla="*/ 121 w 121"/>
                <a:gd name="T5" fmla="*/ 45 h 151"/>
                <a:gd name="T6" fmla="*/ 121 w 121"/>
                <a:gd name="T7" fmla="*/ 106 h 151"/>
                <a:gd name="T8" fmla="*/ 61 w 121"/>
                <a:gd name="T9" fmla="*/ 151 h 151"/>
                <a:gd name="T10" fmla="*/ 0 w 121"/>
                <a:gd name="T11" fmla="*/ 106 h 151"/>
                <a:gd name="T12" fmla="*/ 0 w 121"/>
                <a:gd name="T13" fmla="*/ 4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1">
                  <a:moveTo>
                    <a:pt x="0" y="45"/>
                  </a:moveTo>
                  <a:lnTo>
                    <a:pt x="61" y="0"/>
                  </a:lnTo>
                  <a:lnTo>
                    <a:pt x="121" y="45"/>
                  </a:lnTo>
                  <a:lnTo>
                    <a:pt x="121" y="106"/>
                  </a:lnTo>
                  <a:lnTo>
                    <a:pt x="61" y="151"/>
                  </a:lnTo>
                  <a:lnTo>
                    <a:pt x="0" y="106"/>
                  </a:lnTo>
                  <a:lnTo>
                    <a:pt x="0" y="45"/>
                  </a:lnTo>
                  <a:close/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1" name="Line 182">
              <a:extLst>
                <a:ext uri="{FF2B5EF4-FFF2-40B4-BE49-F238E27FC236}">
                  <a16:creationId xmlns:a16="http://schemas.microsoft.com/office/drawing/2014/main" id="{B09BB52B-9B3B-4F41-82D3-2A92F10476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62850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2" name="Freeform 183">
              <a:extLst>
                <a:ext uri="{FF2B5EF4-FFF2-40B4-BE49-F238E27FC236}">
                  <a16:creationId xmlns:a16="http://schemas.microsoft.com/office/drawing/2014/main" id="{D62ABC31-81A5-4031-83EF-63A66C5EF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829050"/>
              <a:ext cx="192088" cy="73025"/>
            </a:xfrm>
            <a:custGeom>
              <a:avLst/>
              <a:gdLst>
                <a:gd name="T0" fmla="*/ 0 w 121"/>
                <a:gd name="T1" fmla="*/ 0 h 46"/>
                <a:gd name="T2" fmla="*/ 61 w 121"/>
                <a:gd name="T3" fmla="*/ 46 h 46"/>
                <a:gd name="T4" fmla="*/ 121 w 121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6">
                  <a:moveTo>
                    <a:pt x="0" y="0"/>
                  </a:moveTo>
                  <a:lnTo>
                    <a:pt x="61" y="46"/>
                  </a:lnTo>
                  <a:lnTo>
                    <a:pt x="121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3" name="Freeform 184">
              <a:extLst>
                <a:ext uri="{FF2B5EF4-FFF2-40B4-BE49-F238E27FC236}">
                  <a16:creationId xmlns:a16="http://schemas.microsoft.com/office/drawing/2014/main" id="{4F88EABB-735D-4601-A673-7FFEBD184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00450"/>
              <a:ext cx="193675" cy="241300"/>
            </a:xfrm>
            <a:custGeom>
              <a:avLst/>
              <a:gdLst>
                <a:gd name="T0" fmla="*/ 91 w 122"/>
                <a:gd name="T1" fmla="*/ 129 h 152"/>
                <a:gd name="T2" fmla="*/ 61 w 122"/>
                <a:gd name="T3" fmla="*/ 152 h 152"/>
                <a:gd name="T4" fmla="*/ 0 w 122"/>
                <a:gd name="T5" fmla="*/ 106 h 152"/>
                <a:gd name="T6" fmla="*/ 0 w 122"/>
                <a:gd name="T7" fmla="*/ 46 h 152"/>
                <a:gd name="T8" fmla="*/ 61 w 122"/>
                <a:gd name="T9" fmla="*/ 0 h 152"/>
                <a:gd name="T10" fmla="*/ 122 w 122"/>
                <a:gd name="T11" fmla="*/ 46 h 152"/>
                <a:gd name="T12" fmla="*/ 122 w 122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52">
                  <a:moveTo>
                    <a:pt x="91" y="129"/>
                  </a:moveTo>
                  <a:lnTo>
                    <a:pt x="61" y="152"/>
                  </a:lnTo>
                  <a:lnTo>
                    <a:pt x="0" y="106"/>
                  </a:lnTo>
                  <a:lnTo>
                    <a:pt x="0" y="46"/>
                  </a:lnTo>
                  <a:lnTo>
                    <a:pt x="61" y="0"/>
                  </a:lnTo>
                  <a:lnTo>
                    <a:pt x="122" y="46"/>
                  </a:lnTo>
                  <a:lnTo>
                    <a:pt x="122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4" name="Freeform 185">
              <a:extLst>
                <a:ext uri="{FF2B5EF4-FFF2-40B4-BE49-F238E27FC236}">
                  <a16:creationId xmlns:a16="http://schemas.microsoft.com/office/drawing/2014/main" id="{332BA293-BC09-4E0F-A9AF-108017E34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8" y="3673475"/>
              <a:ext cx="193675" cy="71438"/>
            </a:xfrm>
            <a:custGeom>
              <a:avLst/>
              <a:gdLst>
                <a:gd name="T0" fmla="*/ 0 w 122"/>
                <a:gd name="T1" fmla="*/ 0 h 45"/>
                <a:gd name="T2" fmla="*/ 61 w 122"/>
                <a:gd name="T3" fmla="*/ 45 h 45"/>
                <a:gd name="T4" fmla="*/ 122 w 122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45">
                  <a:moveTo>
                    <a:pt x="0" y="0"/>
                  </a:moveTo>
                  <a:lnTo>
                    <a:pt x="61" y="45"/>
                  </a:lnTo>
                  <a:lnTo>
                    <a:pt x="122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5" name="Line 186">
              <a:extLst>
                <a:ext uri="{FF2B5EF4-FFF2-40B4-BE49-F238E27FC236}">
                  <a16:creationId xmlns:a16="http://schemas.microsoft.com/office/drawing/2014/main" id="{3C811A9D-4341-4BEE-B86F-54C903DB08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81900" y="3600450"/>
              <a:ext cx="65088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6" name="Freeform 187">
              <a:extLst>
                <a:ext uri="{FF2B5EF4-FFF2-40B4-BE49-F238E27FC236}">
                  <a16:creationId xmlns:a16="http://schemas.microsoft.com/office/drawing/2014/main" id="{A60DAAB1-3E48-400F-B844-2381D50E9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6988" y="3649663"/>
              <a:ext cx="96838" cy="34925"/>
            </a:xfrm>
            <a:custGeom>
              <a:avLst/>
              <a:gdLst>
                <a:gd name="T0" fmla="*/ 61 w 61"/>
                <a:gd name="T1" fmla="*/ 0 h 22"/>
                <a:gd name="T2" fmla="*/ 31 w 61"/>
                <a:gd name="T3" fmla="*/ 22 h 22"/>
                <a:gd name="T4" fmla="*/ 0 w 61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22">
                  <a:moveTo>
                    <a:pt x="61" y="0"/>
                  </a:moveTo>
                  <a:lnTo>
                    <a:pt x="31" y="22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7" name="Freeform 188">
              <a:extLst>
                <a:ext uri="{FF2B5EF4-FFF2-40B4-BE49-F238E27FC236}">
                  <a16:creationId xmlns:a16="http://schemas.microsoft.com/office/drawing/2014/main" id="{09E62103-823C-4AB2-9D57-8546E98EF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63" y="3444875"/>
              <a:ext cx="192088" cy="144463"/>
            </a:xfrm>
            <a:custGeom>
              <a:avLst/>
              <a:gdLst>
                <a:gd name="T0" fmla="*/ 121 w 121"/>
                <a:gd name="T1" fmla="*/ 91 h 91"/>
                <a:gd name="T2" fmla="*/ 121 w 121"/>
                <a:gd name="T3" fmla="*/ 45 h 91"/>
                <a:gd name="T4" fmla="*/ 61 w 121"/>
                <a:gd name="T5" fmla="*/ 0 h 91"/>
                <a:gd name="T6" fmla="*/ 0 w 121"/>
                <a:gd name="T7" fmla="*/ 45 h 91"/>
                <a:gd name="T8" fmla="*/ 0 w 121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91">
                  <a:moveTo>
                    <a:pt x="121" y="91"/>
                  </a:moveTo>
                  <a:lnTo>
                    <a:pt x="121" y="45"/>
                  </a:lnTo>
                  <a:lnTo>
                    <a:pt x="61" y="0"/>
                  </a:lnTo>
                  <a:lnTo>
                    <a:pt x="0" y="45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8" name="Line 189">
              <a:extLst>
                <a:ext uri="{FF2B5EF4-FFF2-40B4-BE49-F238E27FC236}">
                  <a16:creationId xmlns:a16="http://schemas.microsoft.com/office/drawing/2014/main" id="{3AD20AF3-EB31-4DBC-BD47-D050CE02D8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96200" y="3516313"/>
              <a:ext cx="95250" cy="730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49" name="Line 190">
              <a:extLst>
                <a:ext uri="{FF2B5EF4-FFF2-40B4-BE49-F238E27FC236}">
                  <a16:creationId xmlns:a16="http://schemas.microsoft.com/office/drawing/2014/main" id="{8D00EC69-CC17-42E1-8A7F-BA755309AF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61288" y="3757613"/>
              <a:ext cx="66675" cy="47625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0" name="Freeform 191">
              <a:extLst>
                <a:ext uri="{FF2B5EF4-FFF2-40B4-BE49-F238E27FC236}">
                  <a16:creationId xmlns:a16="http://schemas.microsoft.com/office/drawing/2014/main" id="{AAC3BA17-33CC-4A00-82ED-7A721E813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00450"/>
              <a:ext cx="192088" cy="241300"/>
            </a:xfrm>
            <a:custGeom>
              <a:avLst/>
              <a:gdLst>
                <a:gd name="T0" fmla="*/ 30 w 121"/>
                <a:gd name="T1" fmla="*/ 129 h 152"/>
                <a:gd name="T2" fmla="*/ 60 w 121"/>
                <a:gd name="T3" fmla="*/ 152 h 152"/>
                <a:gd name="T4" fmla="*/ 121 w 121"/>
                <a:gd name="T5" fmla="*/ 106 h 152"/>
                <a:gd name="T6" fmla="*/ 121 w 121"/>
                <a:gd name="T7" fmla="*/ 46 h 152"/>
                <a:gd name="T8" fmla="*/ 60 w 121"/>
                <a:gd name="T9" fmla="*/ 0 h 152"/>
                <a:gd name="T10" fmla="*/ 0 w 121"/>
                <a:gd name="T11" fmla="*/ 46 h 152"/>
                <a:gd name="T12" fmla="*/ 0 w 121"/>
                <a:gd name="T13" fmla="*/ 9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52">
                  <a:moveTo>
                    <a:pt x="30" y="129"/>
                  </a:moveTo>
                  <a:lnTo>
                    <a:pt x="60" y="152"/>
                  </a:lnTo>
                  <a:lnTo>
                    <a:pt x="121" y="106"/>
                  </a:lnTo>
                  <a:lnTo>
                    <a:pt x="121" y="46"/>
                  </a:lnTo>
                  <a:lnTo>
                    <a:pt x="60" y="0"/>
                  </a:lnTo>
                  <a:lnTo>
                    <a:pt x="0" y="46"/>
                  </a:lnTo>
                  <a:lnTo>
                    <a:pt x="0" y="91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1" name="Freeform 192">
              <a:extLst>
                <a:ext uri="{FF2B5EF4-FFF2-40B4-BE49-F238E27FC236}">
                  <a16:creationId xmlns:a16="http://schemas.microsoft.com/office/drawing/2014/main" id="{34044D4F-5ECC-4E33-BB64-BFA75F57A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3673475"/>
              <a:ext cx="192088" cy="71438"/>
            </a:xfrm>
            <a:custGeom>
              <a:avLst/>
              <a:gdLst>
                <a:gd name="T0" fmla="*/ 121 w 121"/>
                <a:gd name="T1" fmla="*/ 0 h 45"/>
                <a:gd name="T2" fmla="*/ 60 w 121"/>
                <a:gd name="T3" fmla="*/ 45 h 45"/>
                <a:gd name="T4" fmla="*/ 0 w 121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5">
                  <a:moveTo>
                    <a:pt x="121" y="0"/>
                  </a:moveTo>
                  <a:lnTo>
                    <a:pt x="60" y="45"/>
                  </a:lnTo>
                  <a:lnTo>
                    <a:pt x="0" y="0"/>
                  </a:lnTo>
                </a:path>
              </a:pathLst>
            </a:cu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2" name="Line 193">
              <a:extLst>
                <a:ext uri="{FF2B5EF4-FFF2-40B4-BE49-F238E27FC236}">
                  <a16:creationId xmlns:a16="http://schemas.microsoft.com/office/drawing/2014/main" id="{2D2065B3-B98E-487F-AB29-24CACEF3D7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743825" y="3600450"/>
              <a:ext cx="66675" cy="5080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3" name="Line 195">
              <a:extLst>
                <a:ext uri="{FF2B5EF4-FFF2-40B4-BE49-F238E27FC236}">
                  <a16:creationId xmlns:a16="http://schemas.microsoft.com/office/drawing/2014/main" id="{21A31774-70D9-427F-BE3E-A2BA54B617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5225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4" name="Line 196">
              <a:extLst>
                <a:ext uri="{FF2B5EF4-FFF2-40B4-BE49-F238E27FC236}">
                  <a16:creationId xmlns:a16="http://schemas.microsoft.com/office/drawing/2014/main" id="{42DAE307-60CA-4A1B-BCE8-932A94A00A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96200" y="3902075"/>
              <a:ext cx="0" cy="95250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  <p:sp>
          <p:nvSpPr>
            <p:cNvPr id="55" name="Line 197">
              <a:extLst>
                <a:ext uri="{FF2B5EF4-FFF2-40B4-BE49-F238E27FC236}">
                  <a16:creationId xmlns:a16="http://schemas.microsoft.com/office/drawing/2014/main" id="{F6B0BA3A-A4C9-40A5-9B49-276C73902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5588" y="3744913"/>
              <a:ext cx="0" cy="96838"/>
            </a:xfrm>
            <a:prstGeom prst="line">
              <a:avLst/>
            </a:prstGeom>
            <a:noFill/>
            <a:ln w="19050" cap="rnd" cmpd="sng" algn="ctr">
              <a:solidFill>
                <a:srgbClr val="1CD0F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2918" tIns="41459" rIns="82918" bIns="41459" numCol="1" anchor="t" anchorCtr="0" compatLnSpc="1">
              <a:prstTxWarp prst="textNoShape">
                <a:avLst/>
              </a:prstTxWarp>
            </a:bodyPr>
            <a:lstStyle/>
            <a:p>
              <a:endParaRPr lang="en-GB" sz="1632"/>
            </a:p>
          </p:txBody>
        </p:sp>
      </p:grpSp>
      <p:sp>
        <p:nvSpPr>
          <p:cNvPr id="56" name="Rectangle 15">
            <a:extLst>
              <a:ext uri="{FF2B5EF4-FFF2-40B4-BE49-F238E27FC236}">
                <a16:creationId xmlns:a16="http://schemas.microsoft.com/office/drawing/2014/main" id="{5F2A96E3-8882-478F-B52E-F1EBD8AB42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4153946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Sports Leagues*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 | MLB, MLS, NBA, NFL, NHL  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7" name="Rectangle 15">
            <a:extLst>
              <a:ext uri="{FF2B5EF4-FFF2-40B4-BE49-F238E27FC236}">
                <a16:creationId xmlns:a16="http://schemas.microsoft.com/office/drawing/2014/main" id="{7F5EE9B5-B426-44EA-84E3-090EE6C979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4575308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Cryptocurrencies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 | ETH, CBET**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8" name="Rectangle 15">
            <a:extLst>
              <a:ext uri="{FF2B5EF4-FFF2-40B4-BE49-F238E27FC236}">
                <a16:creationId xmlns:a16="http://schemas.microsoft.com/office/drawing/2014/main" id="{593BA78A-D253-455F-94F8-0CC2A25F9F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6168" y="4996670"/>
            <a:ext cx="8726006" cy="365760"/>
          </a:xfrm>
          <a:prstGeom prst="roundRect">
            <a:avLst/>
          </a:prstGeom>
          <a:solidFill>
            <a:srgbClr val="2E2E38"/>
          </a:solidFill>
          <a:ln w="9525" cap="flat" cmpd="sng" algn="ctr">
            <a:solidFill>
              <a:srgbClr val="C4C4C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5000"/>
              <a:buFontTx/>
              <a:buNone/>
              <a:tabLst/>
              <a:defRPr/>
            </a:pP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1CD0F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Publishing </a:t>
            </a:r>
            <a:r>
              <a:rPr kumimoji="0" lang="en-U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YInterstate Light" panose="02000506000000020004" pitchFamily="2" charset="0"/>
              </a:rPr>
              <a:t>| GitHub</a:t>
            </a:r>
            <a:endParaRPr kumimoji="0" lang="en-U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6DDED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EB0361-D50A-4327-B813-9895F07CA91D}"/>
              </a:ext>
            </a:extLst>
          </p:cNvPr>
          <p:cNvSpPr txBox="1"/>
          <p:nvPr/>
        </p:nvSpPr>
        <p:spPr>
          <a:xfrm>
            <a:off x="7335831" y="6273191"/>
            <a:ext cx="3978653" cy="38856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050" dirty="0">
                <a:solidFill>
                  <a:srgbClr val="1CD0F4"/>
                </a:solidFill>
              </a:rPr>
              <a:t>*Certain sports leagues are planned for future deployment</a:t>
            </a: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050" dirty="0">
                <a:solidFill>
                  <a:srgbClr val="1CD0F4"/>
                </a:solidFill>
              </a:rPr>
              <a:t>** Internally developed token, not traded in any public exchanges</a:t>
            </a:r>
          </a:p>
        </p:txBody>
      </p:sp>
    </p:spTree>
    <p:extLst>
      <p:ext uri="{BB962C8B-B14F-4D97-AF65-F5344CB8AC3E}">
        <p14:creationId xmlns:p14="http://schemas.microsoft.com/office/powerpoint/2010/main" val="1334025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A36D09-E39D-4B9E-BAF1-4C0EE15FD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1BC30E3-FFE5-4B91-AA19-87A149EBB9EE}" type="slidenum">
              <a:rPr lang="en-IN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7</a:t>
            </a:fld>
            <a:endParaRPr lang="en-IN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71F0D74-3CB8-49F8-8BFD-0083E5DE3327}"/>
              </a:ext>
            </a:extLst>
          </p:cNvPr>
          <p:cNvSpPr/>
          <p:nvPr/>
        </p:nvSpPr>
        <p:spPr>
          <a:xfrm>
            <a:off x="520207" y="1518952"/>
            <a:ext cx="4913274" cy="72327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5D214B-570E-4E81-BB7A-3435154B6CD8}"/>
              </a:ext>
            </a:extLst>
          </p:cNvPr>
          <p:cNvSpPr/>
          <p:nvPr/>
        </p:nvSpPr>
        <p:spPr>
          <a:xfrm>
            <a:off x="381215" y="1304672"/>
            <a:ext cx="5052267" cy="249009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056175-896F-44C2-A0D2-AE42114C5891}"/>
              </a:ext>
            </a:extLst>
          </p:cNvPr>
          <p:cNvSpPr txBox="1"/>
          <p:nvPr/>
        </p:nvSpPr>
        <p:spPr>
          <a:xfrm>
            <a:off x="622995" y="1120392"/>
            <a:ext cx="1067260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316F0E-10A4-45B6-A6AC-942D02F9F90E}"/>
              </a:ext>
            </a:extLst>
          </p:cNvPr>
          <p:cNvSpPr/>
          <p:nvPr/>
        </p:nvSpPr>
        <p:spPr>
          <a:xfrm>
            <a:off x="381213" y="4009043"/>
            <a:ext cx="5052266" cy="2216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092F21-2103-4B95-9D9F-BBCF3080380E}"/>
              </a:ext>
            </a:extLst>
          </p:cNvPr>
          <p:cNvSpPr txBox="1"/>
          <p:nvPr/>
        </p:nvSpPr>
        <p:spPr>
          <a:xfrm>
            <a:off x="620075" y="3817903"/>
            <a:ext cx="2428820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0A88D1-B90C-445D-8CD0-395C54432AA0}"/>
              </a:ext>
            </a:extLst>
          </p:cNvPr>
          <p:cNvSpPr/>
          <p:nvPr/>
        </p:nvSpPr>
        <p:spPr>
          <a:xfrm>
            <a:off x="520207" y="4278286"/>
            <a:ext cx="4913274" cy="72327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0C1C7A4-EC99-4772-8E5B-F093BFA8FB2C}"/>
              </a:ext>
            </a:extLst>
          </p:cNvPr>
          <p:cNvSpPr/>
          <p:nvPr/>
        </p:nvSpPr>
        <p:spPr>
          <a:xfrm>
            <a:off x="5572474" y="1303082"/>
            <a:ext cx="6427064" cy="492221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AB9474-5B2A-4759-A3DE-D28CB30F6FEB}"/>
              </a:ext>
            </a:extLst>
          </p:cNvPr>
          <p:cNvSpPr txBox="1"/>
          <p:nvPr/>
        </p:nvSpPr>
        <p:spPr>
          <a:xfrm>
            <a:off x="5746246" y="1117353"/>
            <a:ext cx="1470719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eak-pea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68AE03-13E2-4282-95D1-E2F270FF8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lockWager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2DAB3FB-A8D3-4460-90EE-1FBD60165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93688"/>
            <a:ext cx="10979150" cy="592137"/>
          </a:xfrm>
        </p:spPr>
        <p:txBody>
          <a:bodyPr/>
          <a:lstStyle/>
          <a:p>
            <a:r>
              <a:rPr lang="en-US" dirty="0">
                <a:solidFill>
                  <a:srgbClr val="1CD0F4"/>
                </a:solidFill>
                <a:latin typeface="Arial" panose="020B0604020202020204" pitchFamily="34" charset="0"/>
              </a:rPr>
              <a:t>Live Demo </a:t>
            </a:r>
            <a:r>
              <a:rPr lang="en-US" dirty="0">
                <a:latin typeface="Arial" panose="020B0604020202020204" pitchFamily="34" charset="0"/>
              </a:rPr>
              <a:t>– technologies and packages used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8C50E7C-A32A-44C4-8CE5-E51B502E8430}"/>
              </a:ext>
            </a:extLst>
          </p:cNvPr>
          <p:cNvSpPr/>
          <p:nvPr/>
        </p:nvSpPr>
        <p:spPr>
          <a:xfrm>
            <a:off x="6481605" y="3210190"/>
            <a:ext cx="491327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12572">
              <a:spcAft>
                <a:spcPts val="300"/>
              </a:spcAft>
              <a:buClr>
                <a:srgbClr val="1CD0F4"/>
              </a:buClr>
              <a:defRPr/>
            </a:pPr>
            <a:r>
              <a:rPr lang="en-US" sz="3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Screenshots/Visuals]</a:t>
            </a:r>
          </a:p>
        </p:txBody>
      </p:sp>
    </p:spTree>
    <p:extLst>
      <p:ext uri="{BB962C8B-B14F-4D97-AF65-F5344CB8AC3E}">
        <p14:creationId xmlns:p14="http://schemas.microsoft.com/office/powerpoint/2010/main" val="2174323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D39502-BD75-4857-888B-B119F627A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BlockWa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B7459-A9BE-4170-99AC-3DBF94476C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dirty="0" smtClean="0"/>
              <a:pPr/>
              <a:t>8</a:t>
            </a:fld>
            <a:endParaRPr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D2BD91D5-89B5-44ED-94D1-7D6E44003D59}"/>
              </a:ext>
            </a:extLst>
          </p:cNvPr>
          <p:cNvSpPr/>
          <p:nvPr/>
        </p:nvSpPr>
        <p:spPr>
          <a:xfrm>
            <a:off x="0" y="3081337"/>
            <a:ext cx="6638925" cy="695325"/>
          </a:xfrm>
          <a:prstGeom prst="homePlate">
            <a:avLst/>
          </a:prstGeom>
          <a:solidFill>
            <a:srgbClr val="1CD0F4"/>
          </a:solidFill>
          <a:ln w="9525">
            <a:solidFill>
              <a:srgbClr val="1CD0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ereum Smart Contracts</a:t>
            </a:r>
          </a:p>
        </p:txBody>
      </p:sp>
    </p:spTree>
    <p:extLst>
      <p:ext uri="{BB962C8B-B14F-4D97-AF65-F5344CB8AC3E}">
        <p14:creationId xmlns:p14="http://schemas.microsoft.com/office/powerpoint/2010/main" val="3534883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A36D09-E39D-4B9E-BAF1-4C0EE15FD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1BC30E3-FFE5-4B91-AA19-87A149EBB9EE}" type="slidenum">
              <a:rPr lang="en-IN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9</a:t>
            </a:fld>
            <a:endParaRPr lang="en-IN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71F0D74-3CB8-49F8-8BFD-0083E5DE3327}"/>
              </a:ext>
            </a:extLst>
          </p:cNvPr>
          <p:cNvSpPr/>
          <p:nvPr/>
        </p:nvSpPr>
        <p:spPr>
          <a:xfrm>
            <a:off x="520207" y="1518952"/>
            <a:ext cx="4913274" cy="72327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XX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5D214B-570E-4E81-BB7A-3435154B6CD8}"/>
              </a:ext>
            </a:extLst>
          </p:cNvPr>
          <p:cNvSpPr/>
          <p:nvPr/>
        </p:nvSpPr>
        <p:spPr>
          <a:xfrm>
            <a:off x="381215" y="1304672"/>
            <a:ext cx="5052267" cy="249009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056175-896F-44C2-A0D2-AE42114C5891}"/>
              </a:ext>
            </a:extLst>
          </p:cNvPr>
          <p:cNvSpPr txBox="1"/>
          <p:nvPr/>
        </p:nvSpPr>
        <p:spPr>
          <a:xfrm>
            <a:off x="622995" y="1120392"/>
            <a:ext cx="1067260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316F0E-10A4-45B6-A6AC-942D02F9F90E}"/>
              </a:ext>
            </a:extLst>
          </p:cNvPr>
          <p:cNvSpPr/>
          <p:nvPr/>
        </p:nvSpPr>
        <p:spPr>
          <a:xfrm>
            <a:off x="381213" y="4009043"/>
            <a:ext cx="5052266" cy="2216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092F21-2103-4B95-9D9F-BBCF3080380E}"/>
              </a:ext>
            </a:extLst>
          </p:cNvPr>
          <p:cNvSpPr txBox="1"/>
          <p:nvPr/>
        </p:nvSpPr>
        <p:spPr>
          <a:xfrm>
            <a:off x="620075" y="3817903"/>
            <a:ext cx="2428820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0A88D1-B90C-445D-8CD0-395C54432AA0}"/>
              </a:ext>
            </a:extLst>
          </p:cNvPr>
          <p:cNvSpPr/>
          <p:nvPr/>
        </p:nvSpPr>
        <p:spPr>
          <a:xfrm>
            <a:off x="520207" y="4278286"/>
            <a:ext cx="4913274" cy="72327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ix 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idity </a:t>
            </a:r>
          </a:p>
          <a:p>
            <a:pPr marL="341923" indent="-341923" defTabSz="912572">
              <a:spcAft>
                <a:spcPts val="300"/>
              </a:spcAft>
              <a:buClr>
                <a:srgbClr val="1CD0F4"/>
              </a:buClr>
              <a:buFont typeface="EYInterstate Light" panose="02000506000000020004" pitchFamily="2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0C1C7A4-EC99-4772-8E5B-F093BFA8FB2C}"/>
              </a:ext>
            </a:extLst>
          </p:cNvPr>
          <p:cNvSpPr/>
          <p:nvPr/>
        </p:nvSpPr>
        <p:spPr>
          <a:xfrm>
            <a:off x="5572474" y="1303082"/>
            <a:ext cx="6427064" cy="492221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en-US" sz="1196">
              <a:solidFill>
                <a:srgbClr val="FFE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AB9474-5B2A-4759-A3DE-D28CB30F6FEB}"/>
              </a:ext>
            </a:extLst>
          </p:cNvPr>
          <p:cNvSpPr txBox="1"/>
          <p:nvPr/>
        </p:nvSpPr>
        <p:spPr>
          <a:xfrm>
            <a:off x="5746246" y="1117353"/>
            <a:ext cx="1470719" cy="393566"/>
          </a:xfrm>
          <a:prstGeom prst="rect">
            <a:avLst/>
          </a:prstGeom>
          <a:solidFill>
            <a:schemeClr val="tx1"/>
          </a:solidFill>
        </p:spPr>
        <p:txBody>
          <a:bodyPr wrap="square" lIns="91248" tIns="91248" rIns="91248" bIns="91248" rtlCol="0" anchor="t">
            <a:spAutoFit/>
          </a:bodyPr>
          <a:lstStyle/>
          <a:p>
            <a:pPr defTabSz="912572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68AE03-13E2-4282-95D1-E2F270FF8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lockWager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7C7E96A-EF67-4D04-B429-3FFD45F16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93688"/>
            <a:ext cx="10979150" cy="592137"/>
          </a:xfrm>
        </p:spPr>
        <p:txBody>
          <a:bodyPr/>
          <a:lstStyle/>
          <a:p>
            <a:r>
              <a:rPr lang="en-IN" dirty="0">
                <a:solidFill>
                  <a:srgbClr val="1CD0F4"/>
                </a:solidFill>
                <a:latin typeface="Arial" panose="020B0604020202020204" pitchFamily="34" charset="0"/>
              </a:rPr>
              <a:t>BlockWager </a:t>
            </a:r>
            <a:r>
              <a:rPr lang="en-IN" dirty="0">
                <a:latin typeface="Arial" panose="020B0604020202020204" pitchFamily="34" charset="0"/>
              </a:rPr>
              <a:t>– Ethereum Smart Contracts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25C7BAD-D0DF-49D5-863A-14269A2683E6}"/>
              </a:ext>
            </a:extLst>
          </p:cNvPr>
          <p:cNvSpPr/>
          <p:nvPr/>
        </p:nvSpPr>
        <p:spPr>
          <a:xfrm>
            <a:off x="6481605" y="3210190"/>
            <a:ext cx="491327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12572">
              <a:spcAft>
                <a:spcPts val="300"/>
              </a:spcAft>
              <a:buClr>
                <a:srgbClr val="1CD0F4"/>
              </a:buClr>
              <a:defRPr/>
            </a:pPr>
            <a:r>
              <a:rPr lang="en-US" sz="3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Screenshots/Visuals]</a:t>
            </a:r>
          </a:p>
        </p:txBody>
      </p:sp>
    </p:spTree>
    <p:extLst>
      <p:ext uri="{BB962C8B-B14F-4D97-AF65-F5344CB8AC3E}">
        <p14:creationId xmlns:p14="http://schemas.microsoft.com/office/powerpoint/2010/main" val="3381598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Black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" val="Bulleted List"/>
  <p:tag name="DYNAMICSHAPE" val="Bulleted List"/>
  <p:tag name="SYMBOLCOLOR" val="single"/>
  <p:tag name="FIXEDPOSITION" val="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" val="Bulleted List"/>
  <p:tag name="DYNAMICSHAPE" val="Bulleted List"/>
  <p:tag name="SYMBOLCOLOR" val="single"/>
  <p:tag name="FIXEDPOSITION" val="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YCUSTOMTRACKER" val="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NHVSxwrUim3bAxejHm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NHVSxwrUim3bAxejHm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NHVSxwrUim3bAxejHm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C725TbWxo2Xgn2Adz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AGESHAPEINCORNER_" val="Yes"/>
  <p:tag name="IMAGESHAPEINFO_" val="{&quot;imgSize&quot;:{&quot;Height&quot;:73.0,&quot;Width&quot;:110.0},&quot;ImageInset&quot;:0.0,&quot;BorderColor&quot;:16777215,&quot;FillOwner&quot;:false,&quot;OwnerInset&quot;:0.0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YNAMICSHAPE" val="Single quote"/>
  <p:tag name="SYMBOL" val="Single quote"/>
  <p:tag name="SYMBOLCOLOR" val="single"/>
  <p:tag name="FIXEDPOSITION" val="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LOCATIONTITLE" val="LH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YNAMICSHAPE" val="Survey title LHS"/>
  <p:tag name="SYMBOL" val="Survey title LHS"/>
  <p:tag name="SYMBOLCOLOR" val="single"/>
  <p:tag name="FIXEDPOSITION" val="T"/>
</p:tagLst>
</file>

<file path=ppt/theme/theme1.xml><?xml version="1.0" encoding="utf-8"?>
<a:theme xmlns:a="http://schemas.openxmlformats.org/drawingml/2006/main" name="EY dark background">
  <a:themeElements>
    <a:clrScheme name="Custom 1">
      <a:dk1>
        <a:srgbClr val="2E2E38"/>
      </a:dk1>
      <a:lt1>
        <a:sysClr val="window" lastClr="FFFFFF"/>
      </a:lt1>
      <a:dk2>
        <a:srgbClr val="5DD5FF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ppt/theme/theme2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ppt/theme/theme3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_EY_widescreen_presentation_2019_v1.4</Template>
  <TotalTime>0</TotalTime>
  <Words>430</Words>
  <Application>Microsoft Office PowerPoint</Application>
  <PresentationFormat>Custom</PresentationFormat>
  <Paragraphs>137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EYInterstate</vt:lpstr>
      <vt:lpstr>EYInterstate Light</vt:lpstr>
      <vt:lpstr>Georgia</vt:lpstr>
      <vt:lpstr>Wingdings 2</vt:lpstr>
      <vt:lpstr>Wingdings 3</vt:lpstr>
      <vt:lpstr>EY dark background</vt:lpstr>
      <vt:lpstr>1_EY dark background</vt:lpstr>
      <vt:lpstr>EY dark background</vt:lpstr>
      <vt:lpstr>2_EY dark background</vt:lpstr>
      <vt:lpstr>think-cell Slide</vt:lpstr>
      <vt:lpstr>BlockWager</vt:lpstr>
      <vt:lpstr>PowerPoint Presentation</vt:lpstr>
      <vt:lpstr>PowerPoint Presentation</vt:lpstr>
      <vt:lpstr>BlockWager - Intro and Overview</vt:lpstr>
      <vt:lpstr>PowerPoint Presentation</vt:lpstr>
      <vt:lpstr>Live Demo – full list of technologies and packages used</vt:lpstr>
      <vt:lpstr>Live Demo – technologies and packages used</vt:lpstr>
      <vt:lpstr>PowerPoint Presentation</vt:lpstr>
      <vt:lpstr>BlockWager – Ethereum Smart Contracts</vt:lpstr>
      <vt:lpstr>PowerPoint Presentation</vt:lpstr>
      <vt:lpstr>BlockWager – Challenges Faced</vt:lpstr>
      <vt:lpstr>PowerPoint Presentation</vt:lpstr>
      <vt:lpstr>BlockWager – Future Developments and Next Steps</vt:lpstr>
      <vt:lpstr>BlockWag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3-02-09T03:05:19Z</dcterms:created>
  <dcterms:modified xsi:type="dcterms:W3CDTF">2023-02-09T03:06:31Z</dcterms:modified>
  <cp:contentStatus/>
</cp:coreProperties>
</file>